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8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0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media/image40.jpg" ContentType="image/png"/>
  <Override PartName="/ppt/media/image42.jpg" ContentType="image/pn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embeddings/Microsoft_Excel_Worksheet512.xlsx" ContentType="application/haansoftxlsx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  <p:sldMasterId id="2147483653" r:id="rId3"/>
    <p:sldMasterId id="2147483684" r:id="rId4"/>
    <p:sldMasterId id="2147483707" r:id="rId5"/>
    <p:sldMasterId id="2147483727" r:id="rId6"/>
    <p:sldMasterId id="2147483750" r:id="rId7"/>
  </p:sldMasterIdLst>
  <p:notesMasterIdLst>
    <p:notesMasterId r:id="rId25"/>
  </p:notesMasterIdLst>
  <p:sldIdLst>
    <p:sldId id="358" r:id="rId8"/>
    <p:sldId id="364" r:id="rId9"/>
    <p:sldId id="369" r:id="rId10"/>
    <p:sldId id="385" r:id="rId11"/>
    <p:sldId id="269" r:id="rId12"/>
    <p:sldId id="2469" r:id="rId13"/>
    <p:sldId id="2484" r:id="rId14"/>
    <p:sldId id="2487" r:id="rId15"/>
    <p:sldId id="2485" r:id="rId16"/>
    <p:sldId id="2486" r:id="rId17"/>
    <p:sldId id="379" r:id="rId18"/>
    <p:sldId id="2483" r:id="rId19"/>
    <p:sldId id="2465" r:id="rId20"/>
    <p:sldId id="2466" r:id="rId21"/>
    <p:sldId id="2481" r:id="rId22"/>
    <p:sldId id="408" r:id="rId23"/>
    <p:sldId id="335" r:id="rId24"/>
  </p:sldIdLst>
  <p:sldSz cx="12192000" cy="6858000"/>
  <p:notesSz cx="6797675" cy="9928225"/>
  <p:defaultTextStyle>
    <a:defPPr>
      <a:defRPr lang="ko-KR"/>
    </a:defPPr>
    <a:lvl1pPr marL="0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69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37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05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274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842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411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980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548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06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B755"/>
    <a:srgbClr val="A4D144"/>
    <a:srgbClr val="D8BC16"/>
    <a:srgbClr val="F2C70E"/>
    <a:srgbClr val="649941"/>
    <a:srgbClr val="C00000"/>
    <a:srgbClr val="95C575"/>
    <a:srgbClr val="7FB858"/>
    <a:srgbClr val="546F1B"/>
    <a:srgbClr val="273B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06" autoAdjust="0"/>
    <p:restoredTop sz="97482" autoAdjust="0"/>
  </p:normalViewPr>
  <p:slideViewPr>
    <p:cSldViewPr>
      <p:cViewPr varScale="1">
        <p:scale>
          <a:sx n="163" d="100"/>
          <a:sy n="163" d="100"/>
        </p:scale>
        <p:origin x="534" y="138"/>
      </p:cViewPr>
      <p:guideLst>
        <p:guide pos="506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4220" y="76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E:\Work\Slides\Green\green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7" Type="http://schemas.openxmlformats.org/officeDocument/2006/relationships/oleObject" Target="file:///\\fileserver\USER_FOLDERS\PUBLIC_RELATIONS\e.kozel\&#1050;&#1072;&#1090;&#1077;&#1088;&#1080;&#1085;&#1072;\!!!&#1055;&#1088;&#1077;&#1079;&#1077;&#1085;&#1090;&#1072;&#1094;&#1080;&#1103;\05-18-22%20&#1057;-&#1093;\&#1057;&#1083;&#1072;&#1081;&#1076;_&#1101;&#1082;&#1089;&#1087;&#1086;&#1088;&#1090;_&#1056;&#1041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6" Type="http://schemas.openxmlformats.org/officeDocument/2006/relationships/image" Target="../media/image43.jpg"/><Relationship Id="rId5" Type="http://schemas.openxmlformats.org/officeDocument/2006/relationships/image" Target="../media/image42.jpg"/><Relationship Id="rId4" Type="http://schemas.openxmlformats.org/officeDocument/2006/relationships/image" Target="../media/image41.jpg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51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57068460638761"/>
          <c:y val="2.2046158058486233E-2"/>
          <c:w val="0.63646714987805886"/>
          <c:h val="0.955907683883027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C29-436E-9A56-4AF399B9AF2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4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C29-436E-9A56-4AF399B9AF2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6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C29-436E-9A56-4AF399B9AF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7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C29-436E-9A56-4AF399B9AF2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2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FC29-436E-9A56-4AF399B9AF2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13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C29-436E-9A56-4AF399B9AF2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27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FC29-436E-9A56-4AF399B9AF2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57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FC29-436E-9A56-4AF399B9AF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Великобритания</c:v>
                </c:pt>
                <c:pt idx="1">
                  <c:v>Китай</c:v>
                </c:pt>
                <c:pt idx="2">
                  <c:v>Польша</c:v>
                </c:pt>
                <c:pt idx="3">
                  <c:v>Эстония</c:v>
                </c:pt>
                <c:pt idx="4">
                  <c:v>Латвия</c:v>
                </c:pt>
                <c:pt idx="5">
                  <c:v>Германия</c:v>
                </c:pt>
                <c:pt idx="6">
                  <c:v>Литва</c:v>
                </c:pt>
                <c:pt idx="7">
                  <c:v>Россия</c:v>
                </c:pt>
              </c:strCache>
            </c:strRef>
          </c:cat>
          <c:val>
            <c:numRef>
              <c:f>Лист1!$B$2:$B$9</c:f>
              <c:numCache>
                <c:formatCode>0</c:formatCode>
                <c:ptCount val="8"/>
                <c:pt idx="0">
                  <c:v>30</c:v>
                </c:pt>
                <c:pt idx="1">
                  <c:v>46</c:v>
                </c:pt>
                <c:pt idx="2">
                  <c:v>68</c:v>
                </c:pt>
                <c:pt idx="3">
                  <c:v>79</c:v>
                </c:pt>
                <c:pt idx="4">
                  <c:v>120</c:v>
                </c:pt>
                <c:pt idx="5">
                  <c:v>133</c:v>
                </c:pt>
                <c:pt idx="6">
                  <c:v>273</c:v>
                </c:pt>
                <c:pt idx="7">
                  <c:v>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9-439A-AE8C-DEF27A9B3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2111050944"/>
        <c:axId val="2111052032"/>
      </c:barChart>
      <c:catAx>
        <c:axId val="21110509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052032"/>
        <c:crosses val="autoZero"/>
        <c:auto val="1"/>
        <c:lblAlgn val="ctr"/>
        <c:lblOffset val="100"/>
        <c:noMultiLvlLbl val="0"/>
      </c:catAx>
      <c:valAx>
        <c:axId val="21110520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2111050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216485721907196E-2"/>
          <c:y val="7.3571093726713291E-2"/>
          <c:w val="0.83879254666155811"/>
          <c:h val="0.83466034788261323"/>
        </c:manualLayout>
      </c:layout>
      <c:barChart>
        <c:barDir val="col"/>
        <c:grouping val="clustered"/>
        <c:varyColors val="0"/>
        <c:ser>
          <c:idx val="5"/>
          <c:order val="0"/>
          <c:tx>
            <c:strRef>
              <c:f>МЕТ!$P$24</c:f>
              <c:strCache>
                <c:ptCount val="1"/>
                <c:pt idx="0">
                  <c:v> Объем, тыс. т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360000" anchor="ctr">
                <a:spAutoFit/>
              </a:bodyPr>
              <a:lstStyle/>
              <a:p>
                <a:pPr>
                  <a:defRPr sz="2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numRef>
              <c:f>МЕТ!$A$37:$A$4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МЕТ!$P$37:$P$41</c:f>
              <c:numCache>
                <c:formatCode>#,##0</c:formatCode>
                <c:ptCount val="5"/>
                <c:pt idx="0">
                  <c:v>594</c:v>
                </c:pt>
                <c:pt idx="1">
                  <c:v>654</c:v>
                </c:pt>
                <c:pt idx="2">
                  <c:v>788</c:v>
                </c:pt>
                <c:pt idx="3">
                  <c:v>812</c:v>
                </c:pt>
                <c:pt idx="4">
                  <c:v>1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7A-4584-B6D9-857396D60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03754112"/>
        <c:axId val="2103764448"/>
      </c:barChart>
      <c:lineChart>
        <c:grouping val="standard"/>
        <c:varyColors val="0"/>
        <c:ser>
          <c:idx val="1"/>
          <c:order val="1"/>
          <c:tx>
            <c:strRef>
              <c:f>МЕТ!$Q$24</c:f>
              <c:strCache>
                <c:ptCount val="1"/>
                <c:pt idx="0">
                  <c:v> Сумма, млн USD</c:v>
                </c:pt>
              </c:strCache>
            </c:strRef>
          </c:tx>
          <c:spPr>
            <a:ln w="88900">
              <a:solidFill>
                <a:srgbClr val="FFC000">
                  <a:alpha val="76863"/>
                </a:srgbClr>
              </a:solidFill>
              <a:prstDash val="solid"/>
            </a:ln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FFC000"/>
                </a:solidFill>
              </a:ln>
            </c:spPr>
          </c:marker>
          <c:dLbls>
            <c:dLbl>
              <c:idx val="3"/>
              <c:layout>
                <c:manualLayout>
                  <c:x val="-5.3106285154286746E-2"/>
                  <c:y val="-4.70266136771028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7A-4584-B6D9-857396D60CD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1">
                    <a:solidFill>
                      <a:schemeClr val="bg2">
                        <a:lumMod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МЕТ!$A$37:$A$4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МЕТ!$Q$37:$Q$41</c:f>
              <c:numCache>
                <c:formatCode>#,##0</c:formatCode>
                <c:ptCount val="5"/>
                <c:pt idx="0">
                  <c:v>303</c:v>
                </c:pt>
                <c:pt idx="1">
                  <c:v>410</c:v>
                </c:pt>
                <c:pt idx="2">
                  <c:v>415</c:v>
                </c:pt>
                <c:pt idx="3">
                  <c:v>417</c:v>
                </c:pt>
                <c:pt idx="4">
                  <c:v>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7A-4584-B6D9-857396D60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3766080"/>
        <c:axId val="2103766624"/>
      </c:lineChart>
      <c:catAx>
        <c:axId val="2103754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ru-RU"/>
          </a:p>
        </c:txPr>
        <c:crossAx val="2103764448"/>
        <c:crosses val="autoZero"/>
        <c:auto val="0"/>
        <c:lblAlgn val="ctr"/>
        <c:lblOffset val="100"/>
        <c:tickMarkSkip val="1"/>
        <c:noMultiLvlLbl val="0"/>
      </c:catAx>
      <c:valAx>
        <c:axId val="2103764448"/>
        <c:scaling>
          <c:orientation val="minMax"/>
          <c:max val="1500"/>
        </c:scaling>
        <c:delete val="0"/>
        <c:axPos val="l"/>
        <c:numFmt formatCode="0" sourceLinked="0"/>
        <c:majorTickMark val="none"/>
        <c:minorTickMark val="none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 sz="500" b="0" i="0" u="none" strike="noStrike" baseline="0">
                <a:solidFill>
                  <a:schemeClr val="bg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2103754112"/>
        <c:crosses val="autoZero"/>
        <c:crossBetween val="between"/>
        <c:majorUnit val="500"/>
      </c:valAx>
      <c:catAx>
        <c:axId val="21037660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3766624"/>
        <c:crosses val="autoZero"/>
        <c:auto val="0"/>
        <c:lblAlgn val="ctr"/>
        <c:lblOffset val="100"/>
        <c:noMultiLvlLbl val="0"/>
      </c:catAx>
      <c:valAx>
        <c:axId val="2103766624"/>
        <c:scaling>
          <c:orientation val="minMax"/>
          <c:max val="750"/>
          <c:min val="0"/>
        </c:scaling>
        <c:delete val="0"/>
        <c:axPos val="r"/>
        <c:numFmt formatCode="0" sourceLinked="0"/>
        <c:majorTickMark val="none"/>
        <c:minorTickMark val="none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 sz="500" b="0" i="0" u="none" strike="noStrike" baseline="0">
                <a:solidFill>
                  <a:schemeClr val="bg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2103766080"/>
        <c:crosses val="max"/>
        <c:crossBetween val="between"/>
        <c:majorUnit val="25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9.0099843040009342E-2"/>
          <c:y val="8.6244312962516362E-2"/>
          <c:w val="0.24177169263971096"/>
          <c:h val="9.8327658715427285E-2"/>
        </c:manualLayout>
      </c:layout>
      <c:overlay val="0"/>
      <c:txPr>
        <a:bodyPr anchor="t" anchorCtr="0"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solidFill>
      <a:srgbClr val="FFFFFF"/>
    </a:solidFill>
    <a:ln w="9525">
      <a:noFill/>
    </a:ln>
  </c:spPr>
  <c:txPr>
    <a:bodyPr/>
    <a:lstStyle/>
    <a:p>
      <a:pPr>
        <a:defRPr sz="8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8487465103815617"/>
          <c:y val="0.14504284708965395"/>
          <c:w val="0.60896870419940463"/>
          <c:h val="0.7267917761224465"/>
        </c:manualLayout>
      </c:layout>
      <c:pie3D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0-32FA-44E5-A345-C4B0F1E7428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6-32FA-44E5-A345-C4B0F1E74288}"/>
              </c:ext>
            </c:extLst>
          </c:dPt>
          <c:dPt>
            <c:idx val="2"/>
            <c:bubble3D val="0"/>
            <c:spPr>
              <a:blipFill>
                <a:blip xmlns:r="http://schemas.openxmlformats.org/officeDocument/2006/relationships" r:embed="rId4"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32FA-44E5-A345-C4B0F1E74288}"/>
              </c:ext>
            </c:extLst>
          </c:dPt>
          <c:dPt>
            <c:idx val="3"/>
            <c:bubble3D val="0"/>
            <c:spPr>
              <a:blipFill>
                <a:blip xmlns:r="http://schemas.openxmlformats.org/officeDocument/2006/relationships" r:embed="rId5"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2-32FA-44E5-A345-C4B0F1E74288}"/>
              </c:ext>
            </c:extLst>
          </c:dPt>
          <c:dPt>
            <c:idx val="4"/>
            <c:bubble3D val="0"/>
            <c:spPr>
              <a:blipFill>
                <a:blip xmlns:r="http://schemas.openxmlformats.org/officeDocument/2006/relationships" r:embed="rId6"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32FA-44E5-A345-C4B0F1E74288}"/>
              </c:ext>
            </c:extLst>
          </c:dPt>
          <c:dPt>
            <c:idx val="5"/>
            <c:bubble3D val="0"/>
            <c:spPr>
              <a:solidFill>
                <a:schemeClr val="bg2">
                  <a:lumMod val="50000"/>
                </a:schemeClr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4-32FA-44E5-A345-C4B0F1E74288}"/>
              </c:ext>
            </c:extLst>
          </c:dPt>
          <c:dLbls>
            <c:dLbl>
              <c:idx val="0"/>
              <c:layout>
                <c:manualLayout>
                  <c:x val="-2.414719752442945E-2"/>
                  <c:y val="8.447841693559594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2FA-44E5-A345-C4B0F1E74288}"/>
                </c:ext>
              </c:extLst>
            </c:dLbl>
            <c:dLbl>
              <c:idx val="1"/>
              <c:layout>
                <c:manualLayout>
                  <c:x val="3.4890666639502396E-2"/>
                  <c:y val="0.1274794462635657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2FA-44E5-A345-C4B0F1E74288}"/>
                </c:ext>
              </c:extLst>
            </c:dLbl>
            <c:dLbl>
              <c:idx val="2"/>
              <c:layout>
                <c:manualLayout>
                  <c:x val="-6.3135566556674377E-2"/>
                  <c:y val="1.713807621720824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FA-44E5-A345-C4B0F1E74288}"/>
                </c:ext>
              </c:extLst>
            </c:dLbl>
            <c:dLbl>
              <c:idx val="3"/>
              <c:layout>
                <c:manualLayout>
                  <c:x val="-2.9906321000529975E-2"/>
                  <c:y val="-6.84292046013410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FA-44E5-A345-C4B0F1E74288}"/>
                </c:ext>
              </c:extLst>
            </c:dLbl>
            <c:dLbl>
              <c:idx val="4"/>
              <c:layout>
                <c:manualLayout>
                  <c:x val="3.6552170111758819E-2"/>
                  <c:y val="-0.121870764211258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FA-44E5-A345-C4B0F1E74288}"/>
                </c:ext>
              </c:extLst>
            </c:dLbl>
            <c:dLbl>
              <c:idx val="5"/>
              <c:layout>
                <c:manualLayout>
                  <c:x val="8.8463560545481199E-2"/>
                  <c:y val="0.1142183146855166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2FA-44E5-A345-C4B0F1E7428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2400" b="0" i="0" u="none" strike="noStrike" kern="1200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1'!$A$4:$A$9</c:f>
              <c:strCache>
                <c:ptCount val="6"/>
                <c:pt idx="0">
                  <c:v>СОМ</c:v>
                </c:pt>
                <c:pt idx="1">
                  <c:v>СЦМ</c:v>
                </c:pt>
                <c:pt idx="2">
                  <c:v>Молочная сыворотка</c:v>
                </c:pt>
                <c:pt idx="3">
                  <c:v>Масло сливочное</c:v>
                </c:pt>
                <c:pt idx="4">
                  <c:v>Сыры и творог</c:v>
                </c:pt>
                <c:pt idx="5">
                  <c:v>Прочее </c:v>
                </c:pt>
              </c:strCache>
            </c:strRef>
          </c:cat>
          <c:val>
            <c:numRef>
              <c:f>'1'!$B$4:$B$9</c:f>
              <c:numCache>
                <c:formatCode>General</c:formatCode>
                <c:ptCount val="6"/>
                <c:pt idx="0" formatCode="0.00">
                  <c:v>120.13</c:v>
                </c:pt>
                <c:pt idx="1">
                  <c:v>37.32</c:v>
                </c:pt>
                <c:pt idx="2" formatCode="0.00">
                  <c:v>129.52000000000001</c:v>
                </c:pt>
                <c:pt idx="3" formatCode="0.00">
                  <c:v>87.443790000000007</c:v>
                </c:pt>
                <c:pt idx="4" formatCode="0.00">
                  <c:v>298.251532</c:v>
                </c:pt>
                <c:pt idx="5" formatCode="0.00">
                  <c:v>69.239114000000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A-44E5-A345-C4B0F1E74288}"/>
            </c:ext>
          </c:extLst>
        </c:ser>
        <c:ser>
          <c:idx val="1"/>
          <c:order val="1"/>
          <c:tx>
            <c:strRef>
              <c:f>'1'!$C$3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3BDC-4480-AAF0-3C9B4C273B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3BDC-4480-AAF0-3C9B4C273BB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3BDC-4480-AAF0-3C9B4C273BB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3BDC-4480-AAF0-3C9B4C273BB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3BDC-4480-AAF0-3C9B4C273BB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3BDC-4480-AAF0-3C9B4C273BB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1'!$C$4:$C$9</c:f>
              <c:numCache>
                <c:formatCode>0.00</c:formatCode>
                <c:ptCount val="6"/>
                <c:pt idx="0">
                  <c:v>16.190000000000001</c:v>
                </c:pt>
                <c:pt idx="1">
                  <c:v>5.03</c:v>
                </c:pt>
                <c:pt idx="2">
                  <c:v>17.46</c:v>
                </c:pt>
                <c:pt idx="3">
                  <c:v>11.79</c:v>
                </c:pt>
                <c:pt idx="4">
                  <c:v>40.200000000000003</c:v>
                </c:pt>
                <c:pt idx="5">
                  <c:v>9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FCF-4EA1-ADEA-8F627C56DF6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7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3009666146416E-2"/>
          <c:y val="0"/>
          <c:w val="0.90152633558416406"/>
          <c:h val="0.99783667073374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1566-4B9A-BE71-47E263F9E9C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1566-4B9A-BE71-47E263F9E9C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6-4B9A-BE71-47E263F9E9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618</cdr:x>
      <cdr:y>0.20429</cdr:y>
    </cdr:from>
    <cdr:to>
      <cdr:x>0.77569</cdr:x>
      <cdr:y>0.79571</cdr:y>
    </cdr:to>
    <cdr:sp macro="" textlink="">
      <cdr:nvSpPr>
        <cdr:cNvPr id="2" name="TextBox 26"/>
        <cdr:cNvSpPr txBox="1"/>
      </cdr:nvSpPr>
      <cdr:spPr>
        <a:xfrm xmlns:a="http://schemas.openxmlformats.org/drawingml/2006/main">
          <a:off x="466175" y="414620"/>
          <a:ext cx="1377069" cy="120032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 anchor="ctr">
          <a:spAutoFit/>
        </a:bodyPr>
        <a:lstStyle xmlns:a="http://schemas.openxmlformats.org/drawingml/2006/main">
          <a:defPPr>
            <a:defRPr lang="ko-KR"/>
          </a:defPPr>
          <a:lvl1pPr marL="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ko-KR" sz="2400" b="1" dirty="0">
              <a:solidFill>
                <a:schemeClr val="bg1"/>
              </a:solidFill>
              <a:cs typeface="Arial" pitchFamily="34" charset="0"/>
            </a:rPr>
            <a:t>менее</a:t>
          </a:r>
          <a:r>
            <a:rPr lang="ru-RU" altLang="ko-KR" sz="4800" b="1" dirty="0">
              <a:solidFill>
                <a:schemeClr val="bg1"/>
              </a:solidFill>
              <a:cs typeface="Arial" pitchFamily="34" charset="0"/>
            </a:rPr>
            <a:t>1</a:t>
          </a:r>
          <a:r>
            <a:rPr lang="en-US" altLang="ko-KR" sz="3200" b="1" dirty="0">
              <a:solidFill>
                <a:schemeClr val="bg1"/>
              </a:solidFill>
              <a:cs typeface="Arial" pitchFamily="34" charset="0"/>
            </a:rPr>
            <a:t>%</a:t>
          </a:r>
          <a:endParaRPr lang="ko-KR" altLang="en-US" sz="3200" b="1" dirty="0">
            <a:solidFill>
              <a:schemeClr val="bg1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4E149-4C6C-44A6-81BE-95A1B367DC12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1B9226-53B2-496C-B078-E65C33B570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684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69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37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05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274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842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411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980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548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1764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3159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0007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1564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8989">
              <a:defRPr/>
            </a:pPr>
            <a:fld id="{D81B9226-53B2-496C-B078-E65C33B570A0}" type="slidenum">
              <a:rPr lang="ru-RU">
                <a:solidFill>
                  <a:prstClr val="black"/>
                </a:solidFill>
                <a:latin typeface="Calibri"/>
              </a:rPr>
              <a:pPr defTabSz="1218989">
                <a:defRPr/>
              </a:pPr>
              <a:t>16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4321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716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697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09993">
              <a:defRPr/>
            </a:pPr>
            <a:fld id="{D81B9226-53B2-496C-B078-E65C33B570A0}" type="slidenum">
              <a:rPr lang="ru-RU">
                <a:solidFill>
                  <a:prstClr val="black"/>
                </a:solidFill>
                <a:latin typeface="Calibri"/>
              </a:rPr>
              <a:pPr defTabSz="1209993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1120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2271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5f391192_0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6" name="Google Shape;246;g35f391192_0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3084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1578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697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385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5f391192_0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41300" y="798513"/>
            <a:ext cx="7097713" cy="3992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6" name="Google Shape;246;g35f391192_073:notes"/>
          <p:cNvSpPr txBox="1">
            <a:spLocks noGrp="1"/>
          </p:cNvSpPr>
          <p:nvPr>
            <p:ph type="body" idx="1"/>
          </p:nvPr>
        </p:nvSpPr>
        <p:spPr>
          <a:xfrm>
            <a:off x="661571" y="5056701"/>
            <a:ext cx="5292563" cy="47905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3421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116" y="3392996"/>
            <a:ext cx="12192000" cy="112210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66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>
                <a:ea typeface="맑은 고딕" pitchFamily="50" charset="-127"/>
              </a:rPr>
              <a:t>FREE PPT TEMPLATES</a:t>
            </a:r>
            <a:endParaRPr lang="en-US" altLang="ko-KR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860" y="502578"/>
            <a:ext cx="2677493" cy="262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36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5" y="1780478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5" y="4018574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7" y="1780476"/>
            <a:ext cx="9303654" cy="200271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7" y="4018574"/>
            <a:ext cx="9303654" cy="200271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1" y="1780476"/>
            <a:ext cx="682541" cy="20027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1" y="4018574"/>
            <a:ext cx="682541" cy="2002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85496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528206" y="7258"/>
            <a:ext cx="6672064" cy="28096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0" y="1628800"/>
            <a:ext cx="5303912" cy="3852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528206" y="4052526"/>
            <a:ext cx="6672064" cy="2672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771326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007768" y="-17115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59279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007768" y="3615573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351573" y="267291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832264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011" y="1508786"/>
            <a:ext cx="3799787" cy="4865561"/>
            <a:chOff x="354008" y="1131589"/>
            <a:chExt cx="2849840" cy="3649171"/>
          </a:xfrm>
        </p:grpSpPr>
        <p:sp>
          <p:nvSpPr>
            <p:cNvPr id="6" name="Rounded Rectangle 5"/>
            <p:cNvSpPr/>
            <p:nvPr/>
          </p:nvSpPr>
          <p:spPr>
            <a:xfrm>
              <a:off x="354008" y="1131589"/>
              <a:ext cx="2849840" cy="3649171"/>
            </a:xfrm>
            <a:prstGeom prst="roundRect">
              <a:avLst>
                <a:gd name="adj" fmla="val 3968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1932" y="1347500"/>
              <a:ext cx="108520" cy="324047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bg1"/>
                </a:solidFill>
              </a:endParaRPr>
            </a:p>
          </p:txBody>
        </p:sp>
        <p:sp>
          <p:nvSpPr>
            <p:cNvPr id="12" name="Half Frame 11"/>
            <p:cNvSpPr/>
            <p:nvPr/>
          </p:nvSpPr>
          <p:spPr>
            <a:xfrm rot="5400000">
              <a:off x="2592642" y="1238201"/>
              <a:ext cx="502331" cy="502331"/>
            </a:xfrm>
            <a:prstGeom prst="halfFrame">
              <a:avLst>
                <a:gd name="adj1" fmla="val 23728"/>
                <a:gd name="adj2" fmla="val 24642"/>
              </a:avLst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1822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65172"/>
            <a:ext cx="12192000" cy="69006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600" b="1" baseline="0">
                <a:latin typeface="+mn-lt"/>
                <a:cs typeface="Arial" pitchFamily="34" charset="0"/>
              </a:defRPr>
            </a:lvl1pPr>
          </a:lstStyle>
          <a:p>
            <a:r>
              <a:rPr lang="ru-RU" sz="2800" dirty="0">
                <a:solidFill>
                  <a:schemeClr val="accent6">
                    <a:lumMod val="50000"/>
                  </a:schemeClr>
                </a:solidFill>
              </a:rPr>
              <a:t>БУДЬ С НАМИ – ТОРГУЙ СО ВСЕМ МИРОМ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1039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7E2077-825D-4E15-922E-79BC622C7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049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67E2077-825D-4E15-922E-79BC622C7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DB3F172-F80E-481C-BE3C-90DE950EA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74514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1796819"/>
            <a:ext cx="12192000" cy="3264362"/>
            <a:chOff x="0" y="1347614"/>
            <a:chExt cx="9144000" cy="2448272"/>
          </a:xfrm>
          <a:solidFill>
            <a:srgbClr val="649941">
              <a:alpha val="85000"/>
            </a:srgbClr>
          </a:solidFill>
        </p:grpSpPr>
        <p:sp>
          <p:nvSpPr>
            <p:cNvPr id="2" name="Rectangle 1"/>
            <p:cNvSpPr/>
            <p:nvPr userDrawn="1"/>
          </p:nvSpPr>
          <p:spPr>
            <a:xfrm>
              <a:off x="0" y="1347614"/>
              <a:ext cx="9144000" cy="244827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923678"/>
              <a:ext cx="9144000" cy="1224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399"/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684037" y="2874139"/>
            <a:ext cx="6507964" cy="63143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SECTION BREAK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684037" y="3505573"/>
            <a:ext cx="6507964" cy="384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7382354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0" y="4872527"/>
            <a:ext cx="2324353" cy="1993911"/>
            <a:chOff x="-2980" y="4872527"/>
            <a:chExt cx="2324353" cy="1993911"/>
          </a:xfrm>
        </p:grpSpPr>
        <p:sp>
          <p:nvSpPr>
            <p:cNvPr id="5" name="Rectangle 29"/>
            <p:cNvSpPr/>
            <p:nvPr/>
          </p:nvSpPr>
          <p:spPr>
            <a:xfrm>
              <a:off x="-2980" y="6174352"/>
              <a:ext cx="1127448" cy="6920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6" name="Rectangle 30"/>
            <p:cNvSpPr/>
            <p:nvPr/>
          </p:nvSpPr>
          <p:spPr>
            <a:xfrm>
              <a:off x="-2980" y="5661247"/>
              <a:ext cx="1130428" cy="4164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7" name="Rectangle 31"/>
            <p:cNvSpPr/>
            <p:nvPr/>
          </p:nvSpPr>
          <p:spPr>
            <a:xfrm>
              <a:off x="-2980" y="4872527"/>
              <a:ext cx="682541" cy="692086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8" name="Rectangle 31"/>
            <p:cNvSpPr/>
            <p:nvPr/>
          </p:nvSpPr>
          <p:spPr>
            <a:xfrm>
              <a:off x="1219936" y="5669686"/>
              <a:ext cx="538834" cy="1196752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9" name="Rectangle 30"/>
            <p:cNvSpPr/>
            <p:nvPr/>
          </p:nvSpPr>
          <p:spPr>
            <a:xfrm>
              <a:off x="1854238" y="6174352"/>
              <a:ext cx="467135" cy="6920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962546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G:\002-KIMS BUSINESS\007-02-Googleslidesppt\02-GSppt-Contents-Kim\20170429\07-\item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2170883"/>
            <a:ext cx="3370352" cy="337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1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607042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65172"/>
            <a:ext cx="12192000" cy="69006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66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>
                <a:ea typeface="맑은 고딕" pitchFamily="50" charset="-127"/>
              </a:rPr>
              <a:t>FREE PPT TEMPLATES</a:t>
            </a:r>
            <a:endParaRPr lang="en-US" altLang="ko-KR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159957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43339" y="164637"/>
            <a:ext cx="11905322" cy="652872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6064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2873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45863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43339" y="1508787"/>
            <a:ext cx="11905322" cy="5184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</p:spTree>
    <p:extLst>
      <p:ext uri="{BB962C8B-B14F-4D97-AF65-F5344CB8AC3E}">
        <p14:creationId xmlns:p14="http://schemas.microsoft.com/office/powerpoint/2010/main" val="4064663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3456548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452917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600931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239369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1321955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6" y="3456548"/>
            <a:ext cx="9303654" cy="92441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6" y="4529181"/>
            <a:ext cx="9303654" cy="924413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2888347" y="5600932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2888346" y="2393701"/>
            <a:ext cx="9303654" cy="92441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2888346" y="1321956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3461444"/>
            <a:ext cx="682541" cy="924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4531188"/>
            <a:ext cx="682541" cy="924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600932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2391700"/>
            <a:ext cx="682541" cy="924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1321956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</p:spTree>
    <p:extLst>
      <p:ext uri="{BB962C8B-B14F-4D97-AF65-F5344CB8AC3E}">
        <p14:creationId xmlns:p14="http://schemas.microsoft.com/office/powerpoint/2010/main" val="2956182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5" y="1780478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5" y="4018574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7" y="1780476"/>
            <a:ext cx="9303654" cy="200271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7" y="4018574"/>
            <a:ext cx="9303654" cy="200271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1" y="1780476"/>
            <a:ext cx="682541" cy="20027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1" y="4018574"/>
            <a:ext cx="682541" cy="2002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274746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528206" y="7258"/>
            <a:ext cx="6672064" cy="28096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0" y="1628800"/>
            <a:ext cx="5303912" cy="3852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528206" y="4052526"/>
            <a:ext cx="6672064" cy="2672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10709873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007768" y="-17115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59279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007768" y="3615573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351573" y="267291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062929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011" y="1508786"/>
            <a:ext cx="3799787" cy="4865561"/>
            <a:chOff x="354008" y="1131589"/>
            <a:chExt cx="2849840" cy="3649171"/>
          </a:xfrm>
        </p:grpSpPr>
        <p:sp>
          <p:nvSpPr>
            <p:cNvPr id="6" name="Rounded Rectangle 5"/>
            <p:cNvSpPr/>
            <p:nvPr/>
          </p:nvSpPr>
          <p:spPr>
            <a:xfrm>
              <a:off x="354008" y="1131589"/>
              <a:ext cx="2849840" cy="3649171"/>
            </a:xfrm>
            <a:prstGeom prst="roundRect">
              <a:avLst>
                <a:gd name="adj" fmla="val 3968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1932" y="1347500"/>
              <a:ext cx="108520" cy="324047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bg1"/>
                </a:solidFill>
              </a:endParaRPr>
            </a:p>
          </p:txBody>
        </p:sp>
        <p:sp>
          <p:nvSpPr>
            <p:cNvPr id="12" name="Half Frame 11"/>
            <p:cNvSpPr/>
            <p:nvPr/>
          </p:nvSpPr>
          <p:spPr>
            <a:xfrm rot="5400000">
              <a:off x="2592642" y="1238201"/>
              <a:ext cx="502331" cy="502331"/>
            </a:xfrm>
            <a:prstGeom prst="halfFrame">
              <a:avLst>
                <a:gd name="adj1" fmla="val 23728"/>
                <a:gd name="adj2" fmla="val 24642"/>
              </a:avLst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7123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67804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5439165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4102679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5049180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979782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3178970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2235366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3215678" y="4102680"/>
            <a:ext cx="8976322" cy="76158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3215678" y="5049183"/>
            <a:ext cx="8976322" cy="761585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3215679" y="5979784"/>
            <a:ext cx="8976321" cy="761584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3215678" y="3178973"/>
            <a:ext cx="8976322" cy="76158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3251684" y="2235368"/>
            <a:ext cx="8940316" cy="761584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4107576"/>
            <a:ext cx="682541" cy="761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5051190"/>
            <a:ext cx="682541" cy="7615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979784"/>
            <a:ext cx="682541" cy="761584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3176972"/>
            <a:ext cx="682541" cy="7615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2235368"/>
            <a:ext cx="682541" cy="761584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4988204C-E768-4710-BF49-0E2B5AB5A698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921532" y="1294367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7" name="Rectangle 26">
            <a:extLst>
              <a:ext uri="{FF2B5EF4-FFF2-40B4-BE49-F238E27FC236}">
                <a16:creationId xmlns:a16="http://schemas.microsoft.com/office/drawing/2014/main" id="{1F97A3C0-7A54-428E-8FF2-B993D93844F8}"/>
              </a:ext>
            </a:extLst>
          </p:cNvPr>
          <p:cNvSpPr/>
          <p:nvPr userDrawn="1"/>
        </p:nvSpPr>
        <p:spPr>
          <a:xfrm>
            <a:off x="3215680" y="1294368"/>
            <a:ext cx="8986428" cy="76158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8" name="Rectangle 29">
            <a:extLst>
              <a:ext uri="{FF2B5EF4-FFF2-40B4-BE49-F238E27FC236}">
                <a16:creationId xmlns:a16="http://schemas.microsoft.com/office/drawing/2014/main" id="{81BE9D75-69EE-43D7-B139-0C3FE9973C5E}"/>
              </a:ext>
            </a:extLst>
          </p:cNvPr>
          <p:cNvSpPr/>
          <p:nvPr userDrawn="1"/>
        </p:nvSpPr>
        <p:spPr>
          <a:xfrm>
            <a:off x="10108" y="1299264"/>
            <a:ext cx="682541" cy="761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9" name="Oval 4">
            <a:extLst>
              <a:ext uri="{FF2B5EF4-FFF2-40B4-BE49-F238E27FC236}">
                <a16:creationId xmlns:a16="http://schemas.microsoft.com/office/drawing/2014/main" id="{8B5A14C4-BA76-4C6C-927C-24A28C000CBF}"/>
              </a:ext>
            </a:extLst>
          </p:cNvPr>
          <p:cNvSpPr/>
          <p:nvPr userDrawn="1"/>
        </p:nvSpPr>
        <p:spPr>
          <a:xfrm>
            <a:off x="2881698" y="1294367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F835163-CCC0-4546-8425-A1443ED0ABB2}"/>
              </a:ext>
            </a:extLst>
          </p:cNvPr>
          <p:cNvSpPr txBox="1"/>
          <p:nvPr userDrawn="1"/>
        </p:nvSpPr>
        <p:spPr>
          <a:xfrm>
            <a:off x="3009575" y="1415681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1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1" name="Oval 4">
            <a:extLst>
              <a:ext uri="{FF2B5EF4-FFF2-40B4-BE49-F238E27FC236}">
                <a16:creationId xmlns:a16="http://schemas.microsoft.com/office/drawing/2014/main" id="{0D97B66B-19C5-49CC-9E77-DCCCCCD009B9}"/>
              </a:ext>
            </a:extLst>
          </p:cNvPr>
          <p:cNvSpPr/>
          <p:nvPr userDrawn="1"/>
        </p:nvSpPr>
        <p:spPr>
          <a:xfrm>
            <a:off x="2868499" y="2234447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8F6FDE0-93E5-4797-A68A-66A1BE321B99}"/>
              </a:ext>
            </a:extLst>
          </p:cNvPr>
          <p:cNvSpPr txBox="1"/>
          <p:nvPr userDrawn="1"/>
        </p:nvSpPr>
        <p:spPr>
          <a:xfrm>
            <a:off x="2996376" y="2355761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2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3" name="Oval 4">
            <a:extLst>
              <a:ext uri="{FF2B5EF4-FFF2-40B4-BE49-F238E27FC236}">
                <a16:creationId xmlns:a16="http://schemas.microsoft.com/office/drawing/2014/main" id="{18E3CCEA-26B2-4836-8C99-548F83A059A9}"/>
              </a:ext>
            </a:extLst>
          </p:cNvPr>
          <p:cNvSpPr/>
          <p:nvPr userDrawn="1"/>
        </p:nvSpPr>
        <p:spPr>
          <a:xfrm>
            <a:off x="2868499" y="3175273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D20B82B-20F1-4E6F-99C9-9EC81F4675D0}"/>
              </a:ext>
            </a:extLst>
          </p:cNvPr>
          <p:cNvSpPr txBox="1"/>
          <p:nvPr userDrawn="1"/>
        </p:nvSpPr>
        <p:spPr>
          <a:xfrm>
            <a:off x="2996376" y="3296587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3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5" name="Oval 4">
            <a:extLst>
              <a:ext uri="{FF2B5EF4-FFF2-40B4-BE49-F238E27FC236}">
                <a16:creationId xmlns:a16="http://schemas.microsoft.com/office/drawing/2014/main" id="{F641E02D-D705-4426-A64C-AF2D09D93631}"/>
              </a:ext>
            </a:extLst>
          </p:cNvPr>
          <p:cNvSpPr/>
          <p:nvPr userDrawn="1"/>
        </p:nvSpPr>
        <p:spPr>
          <a:xfrm>
            <a:off x="2881698" y="4105703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5E94091-13B5-4A0A-9522-AD88C6CA1CAE}"/>
              </a:ext>
            </a:extLst>
          </p:cNvPr>
          <p:cNvSpPr txBox="1"/>
          <p:nvPr userDrawn="1"/>
        </p:nvSpPr>
        <p:spPr>
          <a:xfrm>
            <a:off x="3009575" y="4227017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4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7" name="Oval 4">
            <a:extLst>
              <a:ext uri="{FF2B5EF4-FFF2-40B4-BE49-F238E27FC236}">
                <a16:creationId xmlns:a16="http://schemas.microsoft.com/office/drawing/2014/main" id="{DAD1FF20-0C4D-472E-8B16-876ECCD4F44C}"/>
              </a:ext>
            </a:extLst>
          </p:cNvPr>
          <p:cNvSpPr/>
          <p:nvPr userDrawn="1"/>
        </p:nvSpPr>
        <p:spPr>
          <a:xfrm>
            <a:off x="2888346" y="5059304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9A8DE94-805A-4023-A3F5-766298296A71}"/>
              </a:ext>
            </a:extLst>
          </p:cNvPr>
          <p:cNvSpPr txBox="1"/>
          <p:nvPr userDrawn="1"/>
        </p:nvSpPr>
        <p:spPr>
          <a:xfrm>
            <a:off x="3016223" y="5180618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5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9" name="Oval 4">
            <a:extLst>
              <a:ext uri="{FF2B5EF4-FFF2-40B4-BE49-F238E27FC236}">
                <a16:creationId xmlns:a16="http://schemas.microsoft.com/office/drawing/2014/main" id="{FE58A1B1-8619-47E4-86F3-516FFD011C1F}"/>
              </a:ext>
            </a:extLst>
          </p:cNvPr>
          <p:cNvSpPr/>
          <p:nvPr userDrawn="1"/>
        </p:nvSpPr>
        <p:spPr>
          <a:xfrm>
            <a:off x="2873128" y="5973298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4F8B646-AFDA-4C12-B356-F495D9D729C8}"/>
              </a:ext>
            </a:extLst>
          </p:cNvPr>
          <p:cNvSpPr txBox="1"/>
          <p:nvPr userDrawn="1"/>
        </p:nvSpPr>
        <p:spPr>
          <a:xfrm>
            <a:off x="3001005" y="6094612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6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013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3023659" y="0"/>
            <a:ext cx="6144683" cy="6858000"/>
            <a:chOff x="0" y="1347614"/>
            <a:chExt cx="9144000" cy="2448272"/>
          </a:xfrm>
          <a:solidFill>
            <a:srgbClr val="649941">
              <a:alpha val="85000"/>
            </a:srgbClr>
          </a:solidFill>
        </p:grpSpPr>
        <p:sp>
          <p:nvSpPr>
            <p:cNvPr id="6" name="Rectangle 5"/>
            <p:cNvSpPr/>
            <p:nvPr userDrawn="1"/>
          </p:nvSpPr>
          <p:spPr>
            <a:xfrm>
              <a:off x="0" y="1347614"/>
              <a:ext cx="9144000" cy="244827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286000" y="1347614"/>
              <a:ext cx="4572000" cy="244827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399"/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485118"/>
            <a:ext cx="12192000" cy="7680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Thank you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253202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22477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0" y="0"/>
            <a:ext cx="3799787" cy="6860557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 dirty="0"/>
          </a:p>
        </p:txBody>
      </p:sp>
      <p:sp>
        <p:nvSpPr>
          <p:cNvPr id="9" name="Rounded Rectangle 8"/>
          <p:cNvSpPr/>
          <p:nvPr/>
        </p:nvSpPr>
        <p:spPr>
          <a:xfrm>
            <a:off x="248556" y="403363"/>
            <a:ext cx="144693" cy="6092192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>
              <a:solidFill>
                <a:schemeClr val="bg1"/>
              </a:solidFill>
            </a:endParaRPr>
          </a:p>
        </p:txBody>
      </p:sp>
      <p:sp>
        <p:nvSpPr>
          <p:cNvPr id="12" name="Half Frame 11"/>
          <p:cNvSpPr/>
          <p:nvPr/>
        </p:nvSpPr>
        <p:spPr>
          <a:xfrm rot="5400000">
            <a:off x="2858858" y="335189"/>
            <a:ext cx="944398" cy="669775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>
              <a:solidFill>
                <a:schemeClr val="tx1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C3EAB43-D174-44B3-9C1E-D098DB7A67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44" y="388972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261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16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rgbClr val="1D333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solidFill>
            <a:srgbClr val="2F4450"/>
          </a:soli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41108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1_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068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gradFill flip="none" rotWithShape="1">
            <a:gsLst>
              <a:gs pos="0">
                <a:srgbClr val="272940">
                  <a:shade val="30000"/>
                  <a:satMod val="115000"/>
                </a:srgbClr>
              </a:gs>
              <a:gs pos="50000">
                <a:srgbClr val="272940">
                  <a:shade val="67500"/>
                  <a:satMod val="115000"/>
                </a:srgbClr>
              </a:gs>
              <a:gs pos="100000">
                <a:srgbClr val="272940">
                  <a:shade val="100000"/>
                  <a:satMod val="115000"/>
                </a:srgbClr>
              </a:gs>
            </a:gsLst>
            <a:lin ang="5400000" scaled="1"/>
            <a:tileRect/>
          </a:gra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584841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3469061-F48D-4406-B6BB-2E443F81F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38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F3469061-F48D-4406-B6BB-2E443F81F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72493D33-1819-49BE-B8FC-2B50B2EC95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949A8D5-D292-476B-BA13-02128335DA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9179" y="235384"/>
            <a:ext cx="752104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EF22CFB-0E05-44D8-A4F6-551DBB372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4BF54C-C3F6-4FCD-B47D-FB2F9FAEB798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12713459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C9DE291-0644-4909-A329-EDDA200D31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326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C9DE291-0644-4909-A329-EDDA200D3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9FD66A15-DE88-4439-8A93-35D27F693E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02B4B4-B9EF-4150-88E2-E5E8B4369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B4BFD1-5456-4670-8FA1-84EF118038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2256" y="827170"/>
            <a:ext cx="6663859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92616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72F60989-3571-4E3E-8F48-E7874A583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55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72F60989-3571-4E3E-8F48-E7874A583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A1E1F806-9525-46DB-845D-3E5D29E8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A0C900-A21F-46EB-90EC-2A4DE5067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0EF64E-9ED4-4088-88BE-06E17CBF9839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26086167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91BDBDB-9C82-4D06-94BB-0E3515F1F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67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91BDBDB-9C82-4D06-94BB-0E3515F1F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EF5AF003-1CE0-4780-9E7F-5BD534EEDB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372D70-1B78-4601-A345-0DF982D01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36A074-9ABA-42AC-A761-74B23A8C2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83039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9145BE-2048-400C-8380-A3115BCE3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58413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C5272218-3E20-481F-A5B0-13081390E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16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C5272218-3E20-481F-A5B0-13081390E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36210B85-772B-471E-B943-EC86C3F5A1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6E06606-6936-4F4C-8E97-2AEF240D2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3296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3D82F65-741E-4933-B1DD-2E34140A2E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83039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92F0CE82-C612-4831-9447-5B2CC4F239C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83039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3">
            <a:extLst>
              <a:ext uri="{FF2B5EF4-FFF2-40B4-BE49-F238E27FC236}">
                <a16:creationId xmlns:a16="http://schemas.microsoft.com/office/drawing/2014/main" id="{80A1C94F-3774-4C2B-8B11-DFF2B13CE8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CFB263C-7D9C-4CC6-A258-4937EA5EF1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633342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529759C-0205-4ECC-99A0-8EB65E959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220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529759C-0205-4ECC-99A0-8EB65E959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B35363B4-9396-41AF-95BE-7724E5F1F5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85499E2-195F-4532-B482-6C295FF88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566" y="6443625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A519EF3-6113-4C60-B221-E47C36652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934159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7E2077-825D-4E15-922E-79BC622C7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618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67E2077-825D-4E15-922E-79BC622C7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DB3F172-F80E-481C-BE3C-90DE950EA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48801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0" y="4872527"/>
            <a:ext cx="2324353" cy="1993911"/>
            <a:chOff x="-2980" y="4872527"/>
            <a:chExt cx="2324353" cy="1993911"/>
          </a:xfrm>
        </p:grpSpPr>
        <p:sp>
          <p:nvSpPr>
            <p:cNvPr id="5" name="Rectangle 29"/>
            <p:cNvSpPr/>
            <p:nvPr/>
          </p:nvSpPr>
          <p:spPr>
            <a:xfrm>
              <a:off x="-2980" y="6174352"/>
              <a:ext cx="1127448" cy="6920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6" name="Rectangle 30"/>
            <p:cNvSpPr/>
            <p:nvPr/>
          </p:nvSpPr>
          <p:spPr>
            <a:xfrm>
              <a:off x="-2980" y="5661247"/>
              <a:ext cx="1130428" cy="4164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7" name="Rectangle 31"/>
            <p:cNvSpPr/>
            <p:nvPr/>
          </p:nvSpPr>
          <p:spPr>
            <a:xfrm>
              <a:off x="-2980" y="4872527"/>
              <a:ext cx="682541" cy="692086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8" name="Rectangle 31"/>
            <p:cNvSpPr/>
            <p:nvPr/>
          </p:nvSpPr>
          <p:spPr>
            <a:xfrm>
              <a:off x="1219936" y="5669686"/>
              <a:ext cx="538834" cy="1196752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9" name="Rectangle 30"/>
            <p:cNvSpPr/>
            <p:nvPr/>
          </p:nvSpPr>
          <p:spPr>
            <a:xfrm>
              <a:off x="1854238" y="6174352"/>
              <a:ext cx="467135" cy="6920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12249853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D0E6CFDD-20F2-4C19-9FF9-605918ECC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428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D0E6CFDD-20F2-4C19-9FF9-605918ECC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F29014CC-93EE-4127-8170-6D084BFE5D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7B45D2C-B557-4FD6-B22A-3FA27B89E3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1A81AB8-35F0-4F7F-B032-1719AC33C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447183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F842846-2594-4365-80C2-F449C56656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528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F842846-2594-4365-80C2-F449C5665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283313"/>
      </p:ext>
    </p:extLst>
  </p:cSld>
  <p:clrMapOvr>
    <a:masterClrMapping/>
  </p:clrMapOvr>
  <p:transition advClick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Backgrou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5ECFED0-6E69-4EDA-8C6F-D9C6FF7A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144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5ECFED0-6E69-4EDA-8C6F-D9C6FF7AD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6650443" cy="6858000"/>
          </a:xfrm>
          <a:custGeom>
            <a:avLst/>
            <a:gdLst>
              <a:gd name="connsiteX0" fmla="*/ 0 w 19393999"/>
              <a:gd name="connsiteY0" fmla="*/ 0 h 13715999"/>
              <a:gd name="connsiteX1" fmla="*/ 19393999 w 19393999"/>
              <a:gd name="connsiteY1" fmla="*/ 0 h 13715999"/>
              <a:gd name="connsiteX2" fmla="*/ 13782907 w 19393999"/>
              <a:gd name="connsiteY2" fmla="*/ 13715999 h 13715999"/>
              <a:gd name="connsiteX3" fmla="*/ 0 w 19393999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3999" h="13715999">
                <a:moveTo>
                  <a:pt x="0" y="0"/>
                </a:moveTo>
                <a:lnTo>
                  <a:pt x="19393999" y="0"/>
                </a:lnTo>
                <a:lnTo>
                  <a:pt x="13782907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400" b="0" i="0">
                <a:ln>
                  <a:noFill/>
                </a:ln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88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88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1" name="Google Shape;15;p2">
            <a:extLst>
              <a:ext uri="{FF2B5EF4-FFF2-40B4-BE49-F238E27FC236}">
                <a16:creationId xmlns:a16="http://schemas.microsoft.com/office/drawing/2014/main" id="{37AB413F-97E9-49A1-BFD1-5F556CF83876}"/>
              </a:ext>
            </a:extLst>
          </p:cNvPr>
          <p:cNvSpPr/>
          <p:nvPr userDrawn="1"/>
        </p:nvSpPr>
        <p:spPr>
          <a:xfrm flipH="1">
            <a:off x="0" y="6497125"/>
            <a:ext cx="12192000" cy="360875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E1A9333D-5320-4CD7-8E2F-C126C9AB502B}"/>
              </a:ext>
            </a:extLst>
          </p:cNvPr>
          <p:cNvSpPr txBox="1">
            <a:spLocks/>
          </p:cNvSpPr>
          <p:nvPr userDrawn="1"/>
        </p:nvSpPr>
        <p:spPr>
          <a:xfrm>
            <a:off x="49975" y="6520911"/>
            <a:ext cx="2744548" cy="4093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rPr>
              <a:t>butb.by</a:t>
            </a:r>
            <a:endParaRPr lang="ru-RU" sz="1800" dirty="0">
              <a:solidFill>
                <a:srgbClr val="272940"/>
              </a:solidFill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54AEE952-AB15-4502-B230-297E6952F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0084" y="6457598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945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32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5710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96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35247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2EB8046-04E2-4ABB-B6DF-B268F72DF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312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2EB8046-04E2-4ABB-B6DF-B268F72DF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226885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95999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001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226885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740627-1929-48E0-8F5F-7646651A94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607370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preserve="1" userDrawn="1">
  <p:cSld name="Title + 1 colum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84C1158-6558-491D-B97C-B3EF90AB60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655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84C1158-6558-491D-B97C-B3EF90AB6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2754B9C-12F0-4021-AD56-D48E422B9C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4" name="Google Shape;34;p6"/>
          <p:cNvSpPr/>
          <p:nvPr/>
        </p:nvSpPr>
        <p:spPr>
          <a:xfrm>
            <a:off x="4352306" y="0"/>
            <a:ext cx="783979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1"/>
          </p:nvPr>
        </p:nvSpPr>
        <p:spPr>
          <a:xfrm>
            <a:off x="5355771" y="767333"/>
            <a:ext cx="6226662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9pPr>
          </a:lstStyle>
          <a:p>
            <a:endParaRPr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2C74A67-8C12-4D0B-949C-355BEECFD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878" y="1763587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519541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preserve="1" userDrawn="1">
  <p:cSld name="Title + 3 columns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EA60704-8337-4AE3-987A-67B356C179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72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EA60704-8337-4AE3-987A-67B356C17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D4F4332-3434-45F0-93C3-C7E4FD90F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74" name="Google Shape;74;p12"/>
          <p:cNvSpPr/>
          <p:nvPr/>
        </p:nvSpPr>
        <p:spPr>
          <a:xfrm>
            <a:off x="4257304" y="0"/>
            <a:ext cx="793479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76" name="Google Shape;76;p12"/>
          <p:cNvSpPr txBox="1">
            <a:spLocks noGrp="1"/>
          </p:cNvSpPr>
          <p:nvPr>
            <p:ph type="body" idx="1"/>
          </p:nvPr>
        </p:nvSpPr>
        <p:spPr>
          <a:xfrm>
            <a:off x="4413072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7" name="Google Shape;77;p12"/>
          <p:cNvSpPr txBox="1">
            <a:spLocks noGrp="1"/>
          </p:cNvSpPr>
          <p:nvPr>
            <p:ph type="body" idx="2"/>
          </p:nvPr>
        </p:nvSpPr>
        <p:spPr>
          <a:xfrm>
            <a:off x="6921980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8" name="Google Shape;78;p12"/>
          <p:cNvSpPr txBox="1">
            <a:spLocks noGrp="1"/>
          </p:cNvSpPr>
          <p:nvPr>
            <p:ph type="body" idx="3"/>
          </p:nvPr>
        </p:nvSpPr>
        <p:spPr>
          <a:xfrm>
            <a:off x="9430887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26D6074-4B1B-42BF-A1A4-B2BCCD9FC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413264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140278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47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4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rgbClr val="1D333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solidFill>
            <a:srgbClr val="2F4450"/>
          </a:soli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3786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G:\002-KIMS BUSINESS\007-02-Googleslidesppt\02-GSppt-Contents-Kim\20170429\07-\item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2170883"/>
            <a:ext cx="3370352" cy="337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57120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1_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40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gradFill flip="none" rotWithShape="1">
            <a:gsLst>
              <a:gs pos="0">
                <a:srgbClr val="272940">
                  <a:shade val="30000"/>
                  <a:satMod val="115000"/>
                </a:srgbClr>
              </a:gs>
              <a:gs pos="50000">
                <a:srgbClr val="272940">
                  <a:shade val="67500"/>
                  <a:satMod val="115000"/>
                </a:srgbClr>
              </a:gs>
              <a:gs pos="100000">
                <a:srgbClr val="272940">
                  <a:shade val="100000"/>
                  <a:satMod val="115000"/>
                </a:srgbClr>
              </a:gs>
            </a:gsLst>
            <a:lin ang="5400000" scaled="1"/>
            <a:tileRect/>
          </a:gra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75197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3469061-F48D-4406-B6BB-2E443F81F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46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2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F3469061-F48D-4406-B6BB-2E443F81F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72493D33-1819-49BE-B8FC-2B50B2EC95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949A8D5-D292-476B-BA13-02128335DA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9179" y="235384"/>
            <a:ext cx="752104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EF22CFB-0E05-44D8-A4F6-551DBB372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4BF54C-C3F6-4FCD-B47D-FB2F9FAEB798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2549044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C9DE291-0644-4909-A329-EDDA200D31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92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C9DE291-0644-4909-A329-EDDA200D3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9FD66A15-DE88-4439-8A93-35D27F693E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02B4B4-B9EF-4150-88E2-E5E8B4369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B4BFD1-5456-4670-8FA1-84EF118038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2256" y="827170"/>
            <a:ext cx="6663859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45204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72F60989-3571-4E3E-8F48-E7874A583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38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72F60989-3571-4E3E-8F48-E7874A583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A1E1F806-9525-46DB-845D-3E5D29E8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A0C900-A21F-46EB-90EC-2A4DE5067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0EF64E-9ED4-4088-88BE-06E17CBF9839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10850902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91BDBDB-9C82-4D06-94BB-0E3515F1F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109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4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91BDBDB-9C82-4D06-94BB-0E3515F1F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EF5AF003-1CE0-4780-9E7F-5BD534EEDB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372D70-1B78-4601-A345-0DF982D01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36A074-9ABA-42AC-A761-74B23A8C2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83039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9145BE-2048-400C-8380-A3115BCE3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917116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C5272218-3E20-481F-A5B0-13081390E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88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8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C5272218-3E20-481F-A5B0-13081390E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36210B85-772B-471E-B943-EC86C3F5A1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6E06606-6936-4F4C-8E97-2AEF240D2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3296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3D82F65-741E-4933-B1DD-2E34140A2E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83039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92F0CE82-C612-4831-9447-5B2CC4F239C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83039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3">
            <a:extLst>
              <a:ext uri="{FF2B5EF4-FFF2-40B4-BE49-F238E27FC236}">
                <a16:creationId xmlns:a16="http://schemas.microsoft.com/office/drawing/2014/main" id="{80A1C94F-3774-4C2B-8B11-DFF2B13CE8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CFB263C-7D9C-4CC6-A258-4937EA5EF1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0930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529759C-0205-4ECC-99A0-8EB65E959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757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2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529759C-0205-4ECC-99A0-8EB65E959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B35363B4-9396-41AF-95BE-7724E5F1F5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85499E2-195F-4532-B482-6C295FF88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566" y="6443625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A519EF3-6113-4C60-B221-E47C36652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003763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7E2077-825D-4E15-922E-79BC622C7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31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67E2077-825D-4E15-922E-79BC622C7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DB3F172-F80E-481C-BE3C-90DE950EA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450346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D0E6CFDD-20F2-4C19-9FF9-605918ECC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3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0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D0E6CFDD-20F2-4C19-9FF9-605918ECC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F29014CC-93EE-4127-8170-6D084BFE5D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7B45D2C-B557-4FD6-B22A-3FA27B89E3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1A81AB8-35F0-4F7F-B032-1719AC33C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017850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F842846-2594-4365-80C2-F449C56656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629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F842846-2594-4365-80C2-F449C5665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34758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1213257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Backgrou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5ECFED0-6E69-4EDA-8C6F-D9C6FF7A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852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8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5ECFED0-6E69-4EDA-8C6F-D9C6FF7AD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6650443" cy="6858000"/>
          </a:xfrm>
          <a:custGeom>
            <a:avLst/>
            <a:gdLst>
              <a:gd name="connsiteX0" fmla="*/ 0 w 19393999"/>
              <a:gd name="connsiteY0" fmla="*/ 0 h 13715999"/>
              <a:gd name="connsiteX1" fmla="*/ 19393999 w 19393999"/>
              <a:gd name="connsiteY1" fmla="*/ 0 h 13715999"/>
              <a:gd name="connsiteX2" fmla="*/ 13782907 w 19393999"/>
              <a:gd name="connsiteY2" fmla="*/ 13715999 h 13715999"/>
              <a:gd name="connsiteX3" fmla="*/ 0 w 19393999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3999" h="13715999">
                <a:moveTo>
                  <a:pt x="0" y="0"/>
                </a:moveTo>
                <a:lnTo>
                  <a:pt x="19393999" y="0"/>
                </a:lnTo>
                <a:lnTo>
                  <a:pt x="13782907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400" b="0" i="0">
                <a:ln>
                  <a:noFill/>
                </a:ln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508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509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2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0651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805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6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0425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2EB8046-04E2-4ABB-B6DF-B268F72DF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93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0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2EB8046-04E2-4ABB-B6DF-B268F72DF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226885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95999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001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226885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740627-1929-48E0-8F5F-7646651A94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387679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preserve="1" userDrawn="1">
  <p:cSld name="Title + 1 colum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84C1158-6558-491D-B97C-B3EF90AB60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095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4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84C1158-6558-491D-B97C-B3EF90AB6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2754B9C-12F0-4021-AD56-D48E422B9C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4" name="Google Shape;34;p6"/>
          <p:cNvSpPr/>
          <p:nvPr/>
        </p:nvSpPr>
        <p:spPr>
          <a:xfrm>
            <a:off x="4352306" y="0"/>
            <a:ext cx="783979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1"/>
          </p:nvPr>
        </p:nvSpPr>
        <p:spPr>
          <a:xfrm>
            <a:off x="5355771" y="767333"/>
            <a:ext cx="6226662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9pPr>
          </a:lstStyle>
          <a:p>
            <a:endParaRPr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2C74A67-8C12-4D0B-949C-355BEECFD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878" y="1763587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846614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preserve="1" userDrawn="1">
  <p:cSld name="Title + 3 columns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EA60704-8337-4AE3-987A-67B356C179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786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8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EA60704-8337-4AE3-987A-67B356C17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D4F4332-3434-45F0-93C3-C7E4FD90F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74" name="Google Shape;74;p12"/>
          <p:cNvSpPr/>
          <p:nvPr/>
        </p:nvSpPr>
        <p:spPr>
          <a:xfrm>
            <a:off x="4257304" y="0"/>
            <a:ext cx="793479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76" name="Google Shape;76;p12"/>
          <p:cNvSpPr txBox="1">
            <a:spLocks noGrp="1"/>
          </p:cNvSpPr>
          <p:nvPr>
            <p:ph type="body" idx="1"/>
          </p:nvPr>
        </p:nvSpPr>
        <p:spPr>
          <a:xfrm>
            <a:off x="4413072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7" name="Google Shape;77;p12"/>
          <p:cNvSpPr txBox="1">
            <a:spLocks noGrp="1"/>
          </p:cNvSpPr>
          <p:nvPr>
            <p:ph type="body" idx="2"/>
          </p:nvPr>
        </p:nvSpPr>
        <p:spPr>
          <a:xfrm>
            <a:off x="6921980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8" name="Google Shape;78;p12"/>
          <p:cNvSpPr txBox="1">
            <a:spLocks noGrp="1"/>
          </p:cNvSpPr>
          <p:nvPr>
            <p:ph type="body" idx="3"/>
          </p:nvPr>
        </p:nvSpPr>
        <p:spPr>
          <a:xfrm>
            <a:off x="9430887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26D6074-4B1B-42BF-A1A4-B2BCCD9FC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413264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215253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4" y="1780476"/>
            <a:ext cx="4824535" cy="452884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1" y="1780476"/>
            <a:ext cx="682541" cy="998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1" y="2959253"/>
            <a:ext cx="682541" cy="996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1" y="4133999"/>
            <a:ext cx="682541" cy="99856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5951983" y="1780477"/>
            <a:ext cx="6240017" cy="99856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5951983" y="2957238"/>
            <a:ext cx="6240017" cy="99856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5951983" y="4133999"/>
            <a:ext cx="6240017" cy="99856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26"/>
          <p:cNvSpPr/>
          <p:nvPr userDrawn="1"/>
        </p:nvSpPr>
        <p:spPr>
          <a:xfrm>
            <a:off x="5951982" y="5310759"/>
            <a:ext cx="6240017" cy="99856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3" name="Rectangle 29"/>
          <p:cNvSpPr/>
          <p:nvPr userDrawn="1"/>
        </p:nvSpPr>
        <p:spPr>
          <a:xfrm>
            <a:off x="0" y="5310758"/>
            <a:ext cx="682541" cy="998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</p:spTree>
    <p:extLst>
      <p:ext uri="{BB962C8B-B14F-4D97-AF65-F5344CB8AC3E}">
        <p14:creationId xmlns:p14="http://schemas.microsoft.com/office/powerpoint/2010/main" val="18825580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айт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4132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297941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579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2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75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43339" y="164637"/>
            <a:ext cx="11905322" cy="652872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6064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2873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117069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498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1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rgbClr val="1D333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solidFill>
            <a:srgbClr val="2F4450"/>
          </a:soli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43941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" type="title" preserve="1">
  <p:cSld name="1_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7CC7DB-53EB-4CBC-9254-7A55B36F88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59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7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7CC7DB-53EB-4CBC-9254-7A55B36F8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6117E30-723D-46C5-B756-1655CACF4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42"/>
          <a:stretch/>
        </p:blipFill>
        <p:spPr>
          <a:xfrm>
            <a:off x="4670836" y="74"/>
            <a:ext cx="7539917" cy="6858000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3CCAD0-914A-499B-96CC-4D7776C092C3}"/>
              </a:ext>
            </a:extLst>
          </p:cNvPr>
          <p:cNvSpPr/>
          <p:nvPr userDrawn="1"/>
        </p:nvSpPr>
        <p:spPr>
          <a:xfrm>
            <a:off x="4690005" y="9450"/>
            <a:ext cx="7510753" cy="6836473"/>
          </a:xfrm>
          <a:prstGeom prst="rect">
            <a:avLst/>
          </a:prstGeom>
          <a:solidFill>
            <a:srgbClr val="27294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D2CFECA-BCCF-4F1E-8045-A226405E466B}"/>
              </a:ext>
            </a:extLst>
          </p:cNvPr>
          <p:cNvSpPr/>
          <p:nvPr userDrawn="1"/>
        </p:nvSpPr>
        <p:spPr>
          <a:xfrm>
            <a:off x="4690005" y="0"/>
            <a:ext cx="7518921" cy="6861684"/>
          </a:xfrm>
          <a:prstGeom prst="rect">
            <a:avLst/>
          </a:prstGeom>
          <a:solidFill>
            <a:srgbClr val="265B42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0" name="Google Shape;10;p2"/>
          <p:cNvSpPr/>
          <p:nvPr/>
        </p:nvSpPr>
        <p:spPr>
          <a:xfrm>
            <a:off x="10059311" y="877033"/>
            <a:ext cx="1732400" cy="577200"/>
          </a:xfrm>
          <a:prstGeom prst="triangle">
            <a:avLst>
              <a:gd name="adj" fmla="val 32425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grpSp>
        <p:nvGrpSpPr>
          <p:cNvPr id="11" name="Google Shape;11;p2"/>
          <p:cNvGrpSpPr/>
          <p:nvPr/>
        </p:nvGrpSpPr>
        <p:grpSpPr>
          <a:xfrm>
            <a:off x="4288" y="-12079"/>
            <a:ext cx="11564026" cy="6865882"/>
            <a:chOff x="-4124" y="-7088"/>
            <a:chExt cx="8665522" cy="5149411"/>
          </a:xfrm>
          <a:solidFill>
            <a:schemeClr val="bg1"/>
          </a:solidFill>
        </p:grpSpPr>
        <p:sp>
          <p:nvSpPr>
            <p:cNvPr id="12" name="Google Shape;12;p2"/>
            <p:cNvSpPr/>
            <p:nvPr/>
          </p:nvSpPr>
          <p:spPr>
            <a:xfrm>
              <a:off x="-4124" y="-1177"/>
              <a:ext cx="3525000" cy="51435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4" name="Google Shape;14;p2"/>
          <p:cNvGrpSpPr/>
          <p:nvPr/>
        </p:nvGrpSpPr>
        <p:grpSpPr>
          <a:xfrm rot="10800000" flipH="1">
            <a:off x="-5936" y="1454351"/>
            <a:ext cx="11796669" cy="3949300"/>
            <a:chOff x="-8178042" y="-4493254"/>
            <a:chExt cx="19483598" cy="6522736"/>
          </a:xfrm>
          <a:gradFill flip="none" rotWithShape="1">
            <a:gsLst>
              <a:gs pos="0">
                <a:srgbClr val="272940">
                  <a:shade val="30000"/>
                  <a:satMod val="115000"/>
                </a:srgbClr>
              </a:gs>
              <a:gs pos="50000">
                <a:srgbClr val="272940">
                  <a:shade val="67500"/>
                  <a:satMod val="115000"/>
                </a:srgbClr>
              </a:gs>
              <a:gs pos="100000">
                <a:srgbClr val="272940">
                  <a:shade val="100000"/>
                  <a:satMod val="115000"/>
                </a:srgbClr>
              </a:gs>
            </a:gsLst>
            <a:lin ang="5400000" scaled="1"/>
            <a:tileRect/>
          </a:gradFill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cs typeface="Arvo"/>
                <a:sym typeface="Roboto" pitchFamily="2" charset="0"/>
              </a:endParaRPr>
            </a:p>
          </p:txBody>
        </p:sp>
      </p:grpSp>
      <p:grpSp>
        <p:nvGrpSpPr>
          <p:cNvPr id="17" name="Google Shape;17;p2"/>
          <p:cNvGrpSpPr/>
          <p:nvPr/>
        </p:nvGrpSpPr>
        <p:grpSpPr>
          <a:xfrm>
            <a:off x="4916630" y="5704465"/>
            <a:ext cx="7307772" cy="577328"/>
            <a:chOff x="5582265" y="4646738"/>
            <a:chExt cx="5480829" cy="432996"/>
          </a:xfrm>
          <a:solidFill>
            <a:srgbClr val="265B42"/>
          </a:solidFill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EBC8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dirty="0">
                <a:latin typeface="Arial" panose="020B0604020202020204" pitchFamily="34" charset="0"/>
                <a:ea typeface="Roboto" pitchFamily="2" charset="0"/>
                <a:sym typeface="Roboto" pitchFamily="2" charset="0"/>
              </a:endParaRPr>
            </a:p>
          </p:txBody>
        </p:sp>
        <p:grpSp>
          <p:nvGrpSpPr>
            <p:cNvPr id="19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  <a:grpFill/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rgbClr val="FDE09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 dirty="0">
                  <a:latin typeface="Arial" panose="020B0604020202020204" pitchFamily="34" charset="0"/>
                  <a:ea typeface="Roboto" pitchFamily="2" charset="0"/>
                  <a:sym typeface="Roboto" pitchFamily="2" charset="0"/>
                </a:endParaRPr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56573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3469061-F48D-4406-B6BB-2E443F81F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305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3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F3469061-F48D-4406-B6BB-2E443F81F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72493D33-1819-49BE-B8FC-2B50B2EC95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949A8D5-D292-476B-BA13-02128335DA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9179" y="235384"/>
            <a:ext cx="752104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EF22CFB-0E05-44D8-A4F6-551DBB372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4BF54C-C3F6-4FCD-B47D-FB2F9FAEB798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35194097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C9DE291-0644-4909-A329-EDDA200D31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557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9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C9DE291-0644-4909-A329-EDDA200D3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9FD66A15-DE88-4439-8A93-35D27F693E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02B4B4-B9EF-4150-88E2-E5E8B4369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B4BFD1-5456-4670-8FA1-84EF118038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2256" y="827170"/>
            <a:ext cx="6663859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560772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72F60989-3571-4E3E-8F48-E7874A583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032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5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72F60989-3571-4E3E-8F48-E7874A583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A1E1F806-9525-46DB-845D-3E5D29E8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60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A0C900-A21F-46EB-90EC-2A4DE5067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415" y="1419202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0EF64E-9ED4-4088-88BE-06E17CBF9839}"/>
              </a:ext>
            </a:extLst>
          </p:cNvPr>
          <p:cNvSpPr txBox="1"/>
          <p:nvPr userDrawn="1"/>
        </p:nvSpPr>
        <p:spPr>
          <a:xfrm>
            <a:off x="160198" y="3547517"/>
            <a:ext cx="3613214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Light" charset="0"/>
                <a:sym typeface="Roboto" pitchFamily="2" charset="0"/>
              </a:rPr>
              <a:t>При закупке молоко-сырья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5872668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91BDBDB-9C82-4D06-94BB-0E3515F1F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303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1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91BDBDB-9C82-4D06-94BB-0E3515F1F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EF5AF003-1CE0-4780-9E7F-5BD534EEDB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372D70-1B78-4601-A345-0DF982D01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36A074-9ABA-42AC-A761-74B23A8C2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83039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9145BE-2048-400C-8380-A3115BCE3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457199"/>
            <a:ext cx="3485408" cy="607422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10425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C5272218-3E20-481F-A5B0-13081390E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172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7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C5272218-3E20-481F-A5B0-13081390E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36210B85-772B-471E-B943-EC86C3F5A1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6E06606-6936-4F4C-8E97-2AEF240D2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3296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3D82F65-741E-4933-B1DD-2E34140A2E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83039" y="553626"/>
            <a:ext cx="348540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92F0CE82-C612-4831-9447-5B2CC4F239C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83039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3">
            <a:extLst>
              <a:ext uri="{FF2B5EF4-FFF2-40B4-BE49-F238E27FC236}">
                <a16:creationId xmlns:a16="http://schemas.microsoft.com/office/drawing/2014/main" id="{80A1C94F-3774-4C2B-8B11-DFF2B13CE8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3296" y="1377538"/>
            <a:ext cx="3485408" cy="515389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>
              <a:defRPr>
                <a:latin typeface="Roboto" pitchFamily="2" charset="0"/>
                <a:ea typeface="Roboto" pitchFamily="2" charset="0"/>
                <a:sym typeface="Roboto" pitchFamily="2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CFB263C-7D9C-4CC6-A258-4937EA5EF1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21284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529759C-0205-4ECC-99A0-8EB65E959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37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3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529759C-0205-4ECC-99A0-8EB65E959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B35363B4-9396-41AF-95BE-7724E5F1F5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85499E2-195F-4532-B482-6C295FF88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566" y="6443625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A519EF3-6113-4C60-B221-E47C36652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994111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7E2077-825D-4E15-922E-79BC622C7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95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9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67E2077-825D-4E15-922E-79BC622C7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DB3F172-F80E-481C-BE3C-90DE950EA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27798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D0E6CFDD-20F2-4C19-9FF9-605918ECC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70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5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D0E6CFDD-20F2-4C19-9FF9-605918ECC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F29014CC-93EE-4127-8170-6D084BFE5D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0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7B45D2C-B557-4FD6-B22A-3FA27B89E3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1A81AB8-35F0-4F7F-B032-1719AC33C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2567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43339" y="1508787"/>
            <a:ext cx="11905322" cy="5184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</p:spTree>
    <p:extLst>
      <p:ext uri="{BB962C8B-B14F-4D97-AF65-F5344CB8AC3E}">
        <p14:creationId xmlns:p14="http://schemas.microsoft.com/office/powerpoint/2010/main" val="29950401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F842846-2594-4365-80C2-F449C56656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449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1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F842846-2594-4365-80C2-F449C5665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18864"/>
      </p:ext>
    </p:extLst>
  </p:cSld>
  <p:clrMapOvr>
    <a:masterClrMapping/>
  </p:clrMapOvr>
  <p:transition advClick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Backgrou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5ECFED0-6E69-4EDA-8C6F-D9C6FF7A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945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7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5ECFED0-6E69-4EDA-8C6F-D9C6FF7AD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6650443" cy="6858000"/>
          </a:xfrm>
          <a:custGeom>
            <a:avLst/>
            <a:gdLst>
              <a:gd name="connsiteX0" fmla="*/ 0 w 19393999"/>
              <a:gd name="connsiteY0" fmla="*/ 0 h 13715999"/>
              <a:gd name="connsiteX1" fmla="*/ 19393999 w 19393999"/>
              <a:gd name="connsiteY1" fmla="*/ 0 h 13715999"/>
              <a:gd name="connsiteX2" fmla="*/ 13782907 w 19393999"/>
              <a:gd name="connsiteY2" fmla="*/ 13715999 h 13715999"/>
              <a:gd name="connsiteX3" fmla="*/ 0 w 19393999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3999" h="13715999">
                <a:moveTo>
                  <a:pt x="0" y="0"/>
                </a:moveTo>
                <a:lnTo>
                  <a:pt x="19393999" y="0"/>
                </a:lnTo>
                <a:lnTo>
                  <a:pt x="13782907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400" b="0" i="0">
                <a:ln>
                  <a:noFill/>
                </a:ln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07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40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3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1" name="Google Shape;15;p2">
            <a:extLst>
              <a:ext uri="{FF2B5EF4-FFF2-40B4-BE49-F238E27FC236}">
                <a16:creationId xmlns:a16="http://schemas.microsoft.com/office/drawing/2014/main" id="{37AB413F-97E9-49A1-BFD1-5F556CF83876}"/>
              </a:ext>
            </a:extLst>
          </p:cNvPr>
          <p:cNvSpPr/>
          <p:nvPr userDrawn="1"/>
        </p:nvSpPr>
        <p:spPr>
          <a:xfrm flipH="1">
            <a:off x="0" y="6497125"/>
            <a:ext cx="12192000" cy="360875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E1A9333D-5320-4CD7-8E2F-C126C9AB502B}"/>
              </a:ext>
            </a:extLst>
          </p:cNvPr>
          <p:cNvSpPr txBox="1">
            <a:spLocks/>
          </p:cNvSpPr>
          <p:nvPr userDrawn="1"/>
        </p:nvSpPr>
        <p:spPr>
          <a:xfrm>
            <a:off x="49975" y="6520911"/>
            <a:ext cx="2744548" cy="4093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rPr>
              <a:t>butb.by</a:t>
            </a:r>
            <a:endParaRPr lang="ru-RU" sz="1800" dirty="0">
              <a:solidFill>
                <a:srgbClr val="272940"/>
              </a:solidFill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54AEE952-AB15-4502-B230-297E6952F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0084" y="6457598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142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34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9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5;p2">
            <a:extLst>
              <a:ext uri="{FF2B5EF4-FFF2-40B4-BE49-F238E27FC236}">
                <a16:creationId xmlns:a16="http://schemas.microsoft.com/office/drawing/2014/main" id="{A5869A6F-55BF-4A28-9F60-3506F3A66D9C}"/>
              </a:ext>
            </a:extLst>
          </p:cNvPr>
          <p:cNvSpPr/>
          <p:nvPr userDrawn="1"/>
        </p:nvSpPr>
        <p:spPr>
          <a:xfrm flipH="1">
            <a:off x="-1" y="-1479"/>
            <a:ext cx="2866214" cy="892613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90C2A9C8-4722-4891-BE59-59A6120C5648}"/>
              </a:ext>
            </a:extLst>
          </p:cNvPr>
          <p:cNvSpPr/>
          <p:nvPr userDrawn="1"/>
        </p:nvSpPr>
        <p:spPr>
          <a:xfrm>
            <a:off x="2866213" y="0"/>
            <a:ext cx="9324183" cy="895234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pic>
        <p:nvPicPr>
          <p:cNvPr id="16" name="Объект 8">
            <a:extLst>
              <a:ext uri="{FF2B5EF4-FFF2-40B4-BE49-F238E27FC236}">
                <a16:creationId xmlns:a16="http://schemas.microsoft.com/office/drawing/2014/main" id="{3A3F2AED-2FE9-4775-8F15-862AFCE32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93"/>
          <a:stretch/>
        </p:blipFill>
        <p:spPr>
          <a:xfrm>
            <a:off x="109861" y="81496"/>
            <a:ext cx="2621038" cy="7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9848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59A1806-5D9D-4DEA-9C9F-321112A1FE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68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5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59A1806-5D9D-4DEA-9C9F-321112A1F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186923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2EB8046-04E2-4ABB-B6DF-B268F72DF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644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Слайд think-cell" r:id="rId4" imgW="408" imgH="408" progId="TCLayout.ActiveDocument.1">
                  <p:embed/>
                </p:oleObj>
              </mc:Choice>
              <mc:Fallback>
                <p:oleObj name="Слайд think-cell" r:id="rId4" imgW="408" imgH="408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2EB8046-04E2-4ABB-B6DF-B268F72DF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226885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95999" y="36690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001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226885" y="849663"/>
            <a:ext cx="2152316" cy="161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000" b="0" i="0">
                <a:latin typeface="La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740627-1929-48E0-8F5F-7646651A94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526168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preserve="1" userDrawn="1">
  <p:cSld name="Title + 1 colum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84C1158-6558-491D-B97C-B3EF90AB60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533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7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84C1158-6558-491D-B97C-B3EF90AB6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2754B9C-12F0-4021-AD56-D48E422B9C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34" name="Google Shape;34;p6"/>
          <p:cNvSpPr/>
          <p:nvPr/>
        </p:nvSpPr>
        <p:spPr>
          <a:xfrm>
            <a:off x="4352306" y="0"/>
            <a:ext cx="783979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1"/>
          </p:nvPr>
        </p:nvSpPr>
        <p:spPr>
          <a:xfrm>
            <a:off x="5355771" y="767333"/>
            <a:ext cx="6226662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-"/>
              <a:defRPr/>
            </a:lvl9pPr>
          </a:lstStyle>
          <a:p>
            <a:endParaRPr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2C74A67-8C12-4D0B-949C-355BEECFD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878" y="1763587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664074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preserve="1" userDrawn="1">
  <p:cSld name="Title + 3 columns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EA60704-8337-4AE3-987A-67B356C179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15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3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EA60704-8337-4AE3-987A-67B356C17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D4F4332-3434-45F0-93C3-C7E4FD90F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74" name="Google Shape;74;p12"/>
          <p:cNvSpPr/>
          <p:nvPr/>
        </p:nvSpPr>
        <p:spPr>
          <a:xfrm>
            <a:off x="4257304" y="0"/>
            <a:ext cx="793479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76" name="Google Shape;76;p12"/>
          <p:cNvSpPr txBox="1">
            <a:spLocks noGrp="1"/>
          </p:cNvSpPr>
          <p:nvPr>
            <p:ph type="body" idx="1"/>
          </p:nvPr>
        </p:nvSpPr>
        <p:spPr>
          <a:xfrm>
            <a:off x="4413072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7" name="Google Shape;77;p12"/>
          <p:cNvSpPr txBox="1">
            <a:spLocks noGrp="1"/>
          </p:cNvSpPr>
          <p:nvPr>
            <p:ph type="body" idx="2"/>
          </p:nvPr>
        </p:nvSpPr>
        <p:spPr>
          <a:xfrm>
            <a:off x="6921980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8" name="Google Shape;78;p12"/>
          <p:cNvSpPr txBox="1">
            <a:spLocks noGrp="1"/>
          </p:cNvSpPr>
          <p:nvPr>
            <p:ph type="body" idx="3"/>
          </p:nvPr>
        </p:nvSpPr>
        <p:spPr>
          <a:xfrm>
            <a:off x="9430887" y="767333"/>
            <a:ext cx="2386400" cy="530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0990" rtl="0">
              <a:spcBef>
                <a:spcPts val="800"/>
              </a:spcBef>
              <a:spcAft>
                <a:spcPts val="0"/>
              </a:spcAft>
              <a:buSzPts val="900"/>
              <a:buChar char="▪"/>
              <a:defRPr sz="1200"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SzPts val="900"/>
              <a:buChar char="-"/>
              <a:defRPr sz="1200"/>
            </a:lvl9pPr>
          </a:lstStyle>
          <a:p>
            <a:endParaRPr dirty="0"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26D6074-4B1B-42BF-A1A4-B2BCCD9FC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413264"/>
            <a:ext cx="2982731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792893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3456548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452917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600931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239369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1321955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6" y="3456548"/>
            <a:ext cx="9303654" cy="92441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6" y="4529181"/>
            <a:ext cx="9303654" cy="924413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2888347" y="5600932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2888346" y="2393701"/>
            <a:ext cx="9303654" cy="92441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2888346" y="1321956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3461444"/>
            <a:ext cx="682541" cy="924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4531188"/>
            <a:ext cx="682541" cy="924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600932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2391700"/>
            <a:ext cx="682541" cy="924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1321956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</p:spTree>
    <p:extLst>
      <p:ext uri="{BB962C8B-B14F-4D97-AF65-F5344CB8AC3E}">
        <p14:creationId xmlns:p14="http://schemas.microsoft.com/office/powerpoint/2010/main" val="16159670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8.png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oleObject" Target="../embeddings/oleObject21.bin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ags" Target="../tags/tag32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vmlDrawing" Target="../drawings/vmlDrawing21.vml"/><Relationship Id="rId28" Type="http://schemas.openxmlformats.org/officeDocument/2006/relationships/image" Target="../media/image11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theme" Target="../theme/theme6.xml"/><Relationship Id="rId27" Type="http://schemas.openxmlformats.org/officeDocument/2006/relationships/image" Target="../media/image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6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image" Target="../media/image8.png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vmlDrawing" Target="../drawings/vmlDrawing40.v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oleObject" Target="../embeddings/oleObject40.bin"/><Relationship Id="rId10" Type="http://schemas.openxmlformats.org/officeDocument/2006/relationships/slideLayout" Target="../slideLayouts/slideLayout79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683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0" r:id="rId3"/>
  </p:sldLayoutIdLst>
  <p:txStyles>
    <p:titleStyle>
      <a:lvl1pPr algn="ctr" defTabSz="829544" rtl="0" eaLnBrk="1" latinLnBrk="1" hangingPunct="1">
        <a:spcBef>
          <a:spcPct val="0"/>
        </a:spcBef>
        <a:buNone/>
        <a:defRPr sz="39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20" y="355828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555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59" r:id="rId2"/>
    <p:sldLayoutId id="2147483674" r:id="rId3"/>
    <p:sldLayoutId id="2147483661" r:id="rId4"/>
    <p:sldLayoutId id="2147483660" r:id="rId5"/>
    <p:sldLayoutId id="2147483655" r:id="rId6"/>
    <p:sldLayoutId id="2147483681" r:id="rId7"/>
    <p:sldLayoutId id="2147483665" r:id="rId8"/>
    <p:sldLayoutId id="2147483666" r:id="rId9"/>
    <p:sldLayoutId id="2147483656" r:id="rId10"/>
    <p:sldLayoutId id="2147483680" r:id="rId11"/>
    <p:sldLayoutId id="2147483726" r:id="rId12"/>
  </p:sldLayoutIdLst>
  <p:txStyles>
    <p:titleStyle>
      <a:lvl1pPr algn="l" defTabSz="829544" rtl="0" eaLnBrk="1" latinLnBrk="1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471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ctr" defTabSz="829544" rtl="0" eaLnBrk="1" latinLnBrk="1" hangingPunct="1">
        <a:spcBef>
          <a:spcPct val="0"/>
        </a:spcBef>
        <a:buNone/>
        <a:defRPr sz="39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20" y="355828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5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8" r:id="rId13"/>
    <p:sldLayoutId id="2147483699" r:id="rId14"/>
  </p:sldLayoutIdLst>
  <p:txStyles>
    <p:titleStyle>
      <a:lvl1pPr algn="l" defTabSz="829544" rtl="0" eaLnBrk="1" latinLnBrk="1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79455C5-5C90-48FE-BEC5-4B8AAEC27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00130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Слайд think-cell" r:id="rId23" imgW="408" imgH="408" progId="TCLayout.ActiveDocument.1">
                  <p:embed/>
                </p:oleObj>
              </mc:Choice>
              <mc:Fallback>
                <p:oleObj name="Слайд think-cell" r:id="rId23" imgW="408" imgH="408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79455C5-5C90-48FE-BEC5-4B8AAEC27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22D01DC2-FA02-47DA-BEA6-5FFEFE048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E1E868B1-9B63-45C8-96A3-EF2F9281A8CD}"/>
              </a:ext>
            </a:extLst>
          </p:cNvPr>
          <p:cNvSpPr/>
          <p:nvPr userDrawn="1"/>
        </p:nvSpPr>
        <p:spPr>
          <a:xfrm>
            <a:off x="1603" y="-6850"/>
            <a:ext cx="2857603" cy="6858000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00" y="1050261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F7D9FDB-0B7F-41D5-A55F-25694A664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8194" y="358094"/>
            <a:ext cx="666385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BDF0BC2B-82B8-4BE6-AE59-48EB813160E9}"/>
              </a:ext>
            </a:extLst>
          </p:cNvPr>
          <p:cNvSpPr txBox="1">
            <a:spLocks/>
          </p:cNvSpPr>
          <p:nvPr userDrawn="1"/>
        </p:nvSpPr>
        <p:spPr>
          <a:xfrm>
            <a:off x="2929034" y="6511775"/>
            <a:ext cx="1223007" cy="4093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rPr>
              <a:t>butb.by</a:t>
            </a:r>
            <a:endParaRPr lang="ru-RU" sz="1800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5" name="Google Shape;15;p2">
            <a:extLst>
              <a:ext uri="{FF2B5EF4-FFF2-40B4-BE49-F238E27FC236}">
                <a16:creationId xmlns:a16="http://schemas.microsoft.com/office/drawing/2014/main" id="{96F89530-01DD-4D25-8F10-E48405502EE3}"/>
              </a:ext>
            </a:extLst>
          </p:cNvPr>
          <p:cNvSpPr/>
          <p:nvPr/>
        </p:nvSpPr>
        <p:spPr>
          <a:xfrm flipH="1">
            <a:off x="-1" y="-8824"/>
            <a:ext cx="2863536" cy="916399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CE106A5-BDA7-4C1B-9120-E378A6CF5802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50" y="111882"/>
            <a:ext cx="2447497" cy="674986"/>
          </a:xfrm>
          <a:prstGeom prst="rect">
            <a:avLst/>
          </a:prstGeom>
        </p:spPr>
      </p:pic>
      <p:sp>
        <p:nvSpPr>
          <p:cNvPr id="11" name="Номер слайда 4">
            <a:extLst>
              <a:ext uri="{FF2B5EF4-FFF2-40B4-BE49-F238E27FC236}">
                <a16:creationId xmlns:a16="http://schemas.microsoft.com/office/drawing/2014/main" id="{8A4A6BC8-64B3-4442-B9FD-24F16A1A27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084" y="6457598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527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Arial" panose="020B0604020202020204" pitchFamily="34" charset="0"/>
          <a:ea typeface="Roboto" pitchFamily="2" charset="0"/>
          <a:cs typeface="+mj-cs"/>
          <a:sym typeface="Roboto" pitchFamily="2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Roboto" pitchFamily="2" charset="0"/>
          <a:cs typeface="+mn-cs"/>
          <a:sym typeface="Roboto" pitchFamily="2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79455C5-5C90-48FE-BEC5-4B8AAEC27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2692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Слайд think-cell" r:id="rId26" imgW="408" imgH="408" progId="TCLayout.ActiveDocument.1">
                  <p:embed/>
                </p:oleObj>
              </mc:Choice>
              <mc:Fallback>
                <p:oleObj name="Слайд think-cell" r:id="rId26" imgW="408" imgH="408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79455C5-5C90-48FE-BEC5-4B8AAEC27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22D01DC2-FA02-47DA-BEA6-5FFEFE0483BF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E1E868B1-9B63-45C8-96A3-EF2F9281A8CD}"/>
              </a:ext>
            </a:extLst>
          </p:cNvPr>
          <p:cNvSpPr/>
          <p:nvPr userDrawn="1"/>
        </p:nvSpPr>
        <p:spPr>
          <a:xfrm>
            <a:off x="1603" y="-6850"/>
            <a:ext cx="2857603" cy="6858000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00" y="1050261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F7D9FDB-0B7F-41D5-A55F-25694A664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8194" y="358094"/>
            <a:ext cx="666385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Google Shape;15;p2">
            <a:extLst>
              <a:ext uri="{FF2B5EF4-FFF2-40B4-BE49-F238E27FC236}">
                <a16:creationId xmlns:a16="http://schemas.microsoft.com/office/drawing/2014/main" id="{96F89530-01DD-4D25-8F10-E48405502EE3}"/>
              </a:ext>
            </a:extLst>
          </p:cNvPr>
          <p:cNvSpPr/>
          <p:nvPr/>
        </p:nvSpPr>
        <p:spPr>
          <a:xfrm flipH="1">
            <a:off x="-1" y="-8824"/>
            <a:ext cx="2863536" cy="916399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CE106A5-BDA7-4C1B-9120-E378A6CF580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50" y="111882"/>
            <a:ext cx="2447497" cy="67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995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Arial" panose="020B0604020202020204" pitchFamily="34" charset="0"/>
          <a:ea typeface="Roboto" pitchFamily="2" charset="0"/>
          <a:cs typeface="+mj-cs"/>
          <a:sym typeface="Roboto" pitchFamily="2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Roboto" pitchFamily="2" charset="0"/>
          <a:cs typeface="+mn-cs"/>
          <a:sym typeface="Roboto" pitchFamily="2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79455C5-5C90-48FE-BEC5-4B8AAEC27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63471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5" name="Слайд think-cell" r:id="rId23" imgW="408" imgH="408" progId="TCLayout.ActiveDocument.1">
                  <p:embed/>
                </p:oleObj>
              </mc:Choice>
              <mc:Fallback>
                <p:oleObj name="Слайд think-cell" r:id="rId23" imgW="408" imgH="408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79455C5-5C90-48FE-BEC5-4B8AAEC27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22D01DC2-FA02-47DA-BEA6-5FFEFE048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ea typeface="Roboto" pitchFamily="2" charset="0"/>
              <a:cs typeface="+mj-cs"/>
              <a:sym typeface="Roboto" pitchFamily="2" charset="0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E1E868B1-9B63-45C8-96A3-EF2F9281A8CD}"/>
              </a:ext>
            </a:extLst>
          </p:cNvPr>
          <p:cNvSpPr/>
          <p:nvPr userDrawn="1"/>
        </p:nvSpPr>
        <p:spPr>
          <a:xfrm>
            <a:off x="1603" y="-6850"/>
            <a:ext cx="2857603" cy="6858000"/>
          </a:xfrm>
          <a:prstGeom prst="rect">
            <a:avLst/>
          </a:prstGeom>
          <a:solidFill>
            <a:srgbClr val="1D3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00" y="1050261"/>
            <a:ext cx="32088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F7D9FDB-0B7F-41D5-A55F-25694A664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8194" y="358094"/>
            <a:ext cx="666385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BDF0BC2B-82B8-4BE6-AE59-48EB813160E9}"/>
              </a:ext>
            </a:extLst>
          </p:cNvPr>
          <p:cNvSpPr txBox="1">
            <a:spLocks/>
          </p:cNvSpPr>
          <p:nvPr userDrawn="1"/>
        </p:nvSpPr>
        <p:spPr>
          <a:xfrm>
            <a:off x="2929034" y="6511775"/>
            <a:ext cx="1223007" cy="4093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rPr>
              <a:t>butb.by</a:t>
            </a:r>
            <a:endParaRPr lang="ru-RU" sz="1800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sym typeface="Roboto" pitchFamily="2" charset="0"/>
            </a:endParaRPr>
          </a:p>
        </p:txBody>
      </p:sp>
      <p:sp>
        <p:nvSpPr>
          <p:cNvPr id="15" name="Google Shape;15;p2">
            <a:extLst>
              <a:ext uri="{FF2B5EF4-FFF2-40B4-BE49-F238E27FC236}">
                <a16:creationId xmlns:a16="http://schemas.microsoft.com/office/drawing/2014/main" id="{96F89530-01DD-4D25-8F10-E48405502EE3}"/>
              </a:ext>
            </a:extLst>
          </p:cNvPr>
          <p:cNvSpPr/>
          <p:nvPr/>
        </p:nvSpPr>
        <p:spPr>
          <a:xfrm flipH="1">
            <a:off x="-1" y="-8824"/>
            <a:ext cx="2863536" cy="916399"/>
          </a:xfrm>
          <a:prstGeom prst="rect">
            <a:avLst/>
          </a:prstGeom>
          <a:solidFill>
            <a:srgbClr val="FDE0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latin typeface="Arial" panose="020B0604020202020204" pitchFamily="34" charset="0"/>
              <a:ea typeface="Roboto" pitchFamily="2" charset="0"/>
              <a:cs typeface="Arvo"/>
              <a:sym typeface="Roboto" pitchFamily="2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CE106A5-BDA7-4C1B-9120-E378A6CF5802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50" y="111882"/>
            <a:ext cx="2447497" cy="674986"/>
          </a:xfrm>
          <a:prstGeom prst="rect">
            <a:avLst/>
          </a:prstGeom>
        </p:spPr>
      </p:pic>
      <p:sp>
        <p:nvSpPr>
          <p:cNvPr id="11" name="Номер слайда 4">
            <a:extLst>
              <a:ext uri="{FF2B5EF4-FFF2-40B4-BE49-F238E27FC236}">
                <a16:creationId xmlns:a16="http://schemas.microsoft.com/office/drawing/2014/main" id="{8A4A6BC8-64B3-4442-B9FD-24F16A1A27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084" y="6457598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272940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405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Arial" panose="020B0604020202020204" pitchFamily="34" charset="0"/>
          <a:ea typeface="Roboto" pitchFamily="2" charset="0"/>
          <a:cs typeface="+mj-cs"/>
          <a:sym typeface="Roboto" pitchFamily="2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Roboto" pitchFamily="2" charset="0"/>
          <a:cs typeface="+mn-cs"/>
          <a:sym typeface="Roboto" pitchFamily="2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itchFamily="2" charset="0"/>
          <a:ea typeface="Roboto" pitchFamily="2" charset="0"/>
          <a:cs typeface="+mn-cs"/>
          <a:sym typeface="Roboto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png"/><Relationship Id="rId2" Type="http://schemas.openxmlformats.org/officeDocument/2006/relationships/tags" Target="../tags/tag40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7.emf"/><Relationship Id="rId11" Type="http://schemas.openxmlformats.org/officeDocument/2006/relationships/image" Target="../media/image33.jp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7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38.jp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chart" Target="../charts/chart3.xml"/><Relationship Id="rId4" Type="http://schemas.openxmlformats.org/officeDocument/2006/relationships/image" Target="../media/image39.jpg"/><Relationship Id="rId9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206.xml"/><Relationship Id="rId299" Type="http://schemas.openxmlformats.org/officeDocument/2006/relationships/tags" Target="../tags/tag388.xml"/><Relationship Id="rId21" Type="http://schemas.openxmlformats.org/officeDocument/2006/relationships/tags" Target="../tags/tag110.xml"/><Relationship Id="rId63" Type="http://schemas.openxmlformats.org/officeDocument/2006/relationships/tags" Target="../tags/tag152.xml"/><Relationship Id="rId159" Type="http://schemas.openxmlformats.org/officeDocument/2006/relationships/tags" Target="../tags/tag248.xml"/><Relationship Id="rId170" Type="http://schemas.openxmlformats.org/officeDocument/2006/relationships/tags" Target="../tags/tag259.xml"/><Relationship Id="rId226" Type="http://schemas.openxmlformats.org/officeDocument/2006/relationships/tags" Target="../tags/tag315.xml"/><Relationship Id="rId268" Type="http://schemas.openxmlformats.org/officeDocument/2006/relationships/tags" Target="../tags/tag357.xml"/><Relationship Id="rId32" Type="http://schemas.openxmlformats.org/officeDocument/2006/relationships/tags" Target="../tags/tag121.xml"/><Relationship Id="rId74" Type="http://schemas.openxmlformats.org/officeDocument/2006/relationships/tags" Target="../tags/tag163.xml"/><Relationship Id="rId128" Type="http://schemas.openxmlformats.org/officeDocument/2006/relationships/tags" Target="../tags/tag217.xml"/><Relationship Id="rId5" Type="http://schemas.openxmlformats.org/officeDocument/2006/relationships/tags" Target="../tags/tag94.xml"/><Relationship Id="rId181" Type="http://schemas.openxmlformats.org/officeDocument/2006/relationships/tags" Target="../tags/tag270.xml"/><Relationship Id="rId237" Type="http://schemas.openxmlformats.org/officeDocument/2006/relationships/tags" Target="../tags/tag326.xml"/><Relationship Id="rId279" Type="http://schemas.openxmlformats.org/officeDocument/2006/relationships/tags" Target="../tags/tag368.xml"/><Relationship Id="rId43" Type="http://schemas.openxmlformats.org/officeDocument/2006/relationships/tags" Target="../tags/tag132.xml"/><Relationship Id="rId139" Type="http://schemas.openxmlformats.org/officeDocument/2006/relationships/tags" Target="../tags/tag228.xml"/><Relationship Id="rId290" Type="http://schemas.openxmlformats.org/officeDocument/2006/relationships/tags" Target="../tags/tag379.xml"/><Relationship Id="rId304" Type="http://schemas.openxmlformats.org/officeDocument/2006/relationships/tags" Target="../tags/tag393.xml"/><Relationship Id="rId85" Type="http://schemas.openxmlformats.org/officeDocument/2006/relationships/tags" Target="../tags/tag174.xml"/><Relationship Id="rId150" Type="http://schemas.openxmlformats.org/officeDocument/2006/relationships/tags" Target="../tags/tag239.xml"/><Relationship Id="rId192" Type="http://schemas.openxmlformats.org/officeDocument/2006/relationships/tags" Target="../tags/tag281.xml"/><Relationship Id="rId206" Type="http://schemas.openxmlformats.org/officeDocument/2006/relationships/tags" Target="../tags/tag295.xml"/><Relationship Id="rId248" Type="http://schemas.openxmlformats.org/officeDocument/2006/relationships/tags" Target="../tags/tag337.xml"/><Relationship Id="rId12" Type="http://schemas.openxmlformats.org/officeDocument/2006/relationships/tags" Target="../tags/tag101.xml"/><Relationship Id="rId108" Type="http://schemas.openxmlformats.org/officeDocument/2006/relationships/tags" Target="../tags/tag197.xml"/><Relationship Id="rId315" Type="http://schemas.openxmlformats.org/officeDocument/2006/relationships/slideLayout" Target="../slideLayouts/slideLayout4.xml"/><Relationship Id="rId54" Type="http://schemas.openxmlformats.org/officeDocument/2006/relationships/tags" Target="../tags/tag143.xml"/><Relationship Id="rId96" Type="http://schemas.openxmlformats.org/officeDocument/2006/relationships/tags" Target="../tags/tag185.xml"/><Relationship Id="rId161" Type="http://schemas.openxmlformats.org/officeDocument/2006/relationships/tags" Target="../tags/tag250.xml"/><Relationship Id="rId217" Type="http://schemas.openxmlformats.org/officeDocument/2006/relationships/tags" Target="../tags/tag306.xml"/><Relationship Id="rId259" Type="http://schemas.openxmlformats.org/officeDocument/2006/relationships/tags" Target="../tags/tag348.xml"/><Relationship Id="rId23" Type="http://schemas.openxmlformats.org/officeDocument/2006/relationships/tags" Target="../tags/tag112.xml"/><Relationship Id="rId119" Type="http://schemas.openxmlformats.org/officeDocument/2006/relationships/tags" Target="../tags/tag208.xml"/><Relationship Id="rId270" Type="http://schemas.openxmlformats.org/officeDocument/2006/relationships/tags" Target="../tags/tag359.xml"/><Relationship Id="rId65" Type="http://schemas.openxmlformats.org/officeDocument/2006/relationships/tags" Target="../tags/tag154.xml"/><Relationship Id="rId130" Type="http://schemas.openxmlformats.org/officeDocument/2006/relationships/tags" Target="../tags/tag219.xml"/><Relationship Id="rId172" Type="http://schemas.openxmlformats.org/officeDocument/2006/relationships/tags" Target="../tags/tag261.xml"/><Relationship Id="rId193" Type="http://schemas.openxmlformats.org/officeDocument/2006/relationships/tags" Target="../tags/tag282.xml"/><Relationship Id="rId207" Type="http://schemas.openxmlformats.org/officeDocument/2006/relationships/tags" Target="../tags/tag296.xml"/><Relationship Id="rId228" Type="http://schemas.openxmlformats.org/officeDocument/2006/relationships/tags" Target="../tags/tag317.xml"/><Relationship Id="rId249" Type="http://schemas.openxmlformats.org/officeDocument/2006/relationships/tags" Target="../tags/tag338.xml"/><Relationship Id="rId13" Type="http://schemas.openxmlformats.org/officeDocument/2006/relationships/tags" Target="../tags/tag102.xml"/><Relationship Id="rId109" Type="http://schemas.openxmlformats.org/officeDocument/2006/relationships/tags" Target="../tags/tag198.xml"/><Relationship Id="rId260" Type="http://schemas.openxmlformats.org/officeDocument/2006/relationships/tags" Target="../tags/tag349.xml"/><Relationship Id="rId281" Type="http://schemas.openxmlformats.org/officeDocument/2006/relationships/tags" Target="../tags/tag370.xml"/><Relationship Id="rId316" Type="http://schemas.openxmlformats.org/officeDocument/2006/relationships/image" Target="../media/image31.png"/><Relationship Id="rId34" Type="http://schemas.openxmlformats.org/officeDocument/2006/relationships/tags" Target="../tags/tag123.xml"/><Relationship Id="rId55" Type="http://schemas.openxmlformats.org/officeDocument/2006/relationships/tags" Target="../tags/tag144.xml"/><Relationship Id="rId76" Type="http://schemas.openxmlformats.org/officeDocument/2006/relationships/tags" Target="../tags/tag165.xml"/><Relationship Id="rId97" Type="http://schemas.openxmlformats.org/officeDocument/2006/relationships/tags" Target="../tags/tag186.xml"/><Relationship Id="rId120" Type="http://schemas.openxmlformats.org/officeDocument/2006/relationships/tags" Target="../tags/tag209.xml"/><Relationship Id="rId141" Type="http://schemas.openxmlformats.org/officeDocument/2006/relationships/tags" Target="../tags/tag230.xml"/><Relationship Id="rId7" Type="http://schemas.openxmlformats.org/officeDocument/2006/relationships/tags" Target="../tags/tag96.xml"/><Relationship Id="rId162" Type="http://schemas.openxmlformats.org/officeDocument/2006/relationships/tags" Target="../tags/tag251.xml"/><Relationship Id="rId183" Type="http://schemas.openxmlformats.org/officeDocument/2006/relationships/tags" Target="../tags/tag272.xml"/><Relationship Id="rId218" Type="http://schemas.openxmlformats.org/officeDocument/2006/relationships/tags" Target="../tags/tag307.xml"/><Relationship Id="rId239" Type="http://schemas.openxmlformats.org/officeDocument/2006/relationships/tags" Target="../tags/tag328.xml"/><Relationship Id="rId250" Type="http://schemas.openxmlformats.org/officeDocument/2006/relationships/tags" Target="../tags/tag339.xml"/><Relationship Id="rId271" Type="http://schemas.openxmlformats.org/officeDocument/2006/relationships/tags" Target="../tags/tag360.xml"/><Relationship Id="rId292" Type="http://schemas.openxmlformats.org/officeDocument/2006/relationships/tags" Target="../tags/tag381.xml"/><Relationship Id="rId306" Type="http://schemas.openxmlformats.org/officeDocument/2006/relationships/tags" Target="../tags/tag395.xml"/><Relationship Id="rId24" Type="http://schemas.openxmlformats.org/officeDocument/2006/relationships/tags" Target="../tags/tag113.xml"/><Relationship Id="rId45" Type="http://schemas.openxmlformats.org/officeDocument/2006/relationships/tags" Target="../tags/tag134.xml"/><Relationship Id="rId66" Type="http://schemas.openxmlformats.org/officeDocument/2006/relationships/tags" Target="../tags/tag155.xml"/><Relationship Id="rId87" Type="http://schemas.openxmlformats.org/officeDocument/2006/relationships/tags" Target="../tags/tag176.xml"/><Relationship Id="rId110" Type="http://schemas.openxmlformats.org/officeDocument/2006/relationships/tags" Target="../tags/tag199.xml"/><Relationship Id="rId131" Type="http://schemas.openxmlformats.org/officeDocument/2006/relationships/tags" Target="../tags/tag220.xml"/><Relationship Id="rId152" Type="http://schemas.openxmlformats.org/officeDocument/2006/relationships/tags" Target="../tags/tag241.xml"/><Relationship Id="rId173" Type="http://schemas.openxmlformats.org/officeDocument/2006/relationships/tags" Target="../tags/tag262.xml"/><Relationship Id="rId194" Type="http://schemas.openxmlformats.org/officeDocument/2006/relationships/tags" Target="../tags/tag283.xml"/><Relationship Id="rId208" Type="http://schemas.openxmlformats.org/officeDocument/2006/relationships/tags" Target="../tags/tag297.xml"/><Relationship Id="rId229" Type="http://schemas.openxmlformats.org/officeDocument/2006/relationships/tags" Target="../tags/tag318.xml"/><Relationship Id="rId240" Type="http://schemas.openxmlformats.org/officeDocument/2006/relationships/tags" Target="../tags/tag329.xml"/><Relationship Id="rId261" Type="http://schemas.openxmlformats.org/officeDocument/2006/relationships/tags" Target="../tags/tag350.xml"/><Relationship Id="rId14" Type="http://schemas.openxmlformats.org/officeDocument/2006/relationships/tags" Target="../tags/tag103.xml"/><Relationship Id="rId35" Type="http://schemas.openxmlformats.org/officeDocument/2006/relationships/tags" Target="../tags/tag124.xml"/><Relationship Id="rId56" Type="http://schemas.openxmlformats.org/officeDocument/2006/relationships/tags" Target="../tags/tag145.xml"/><Relationship Id="rId77" Type="http://schemas.openxmlformats.org/officeDocument/2006/relationships/tags" Target="../tags/tag166.xml"/><Relationship Id="rId100" Type="http://schemas.openxmlformats.org/officeDocument/2006/relationships/tags" Target="../tags/tag189.xml"/><Relationship Id="rId282" Type="http://schemas.openxmlformats.org/officeDocument/2006/relationships/tags" Target="../tags/tag371.xml"/><Relationship Id="rId8" Type="http://schemas.openxmlformats.org/officeDocument/2006/relationships/tags" Target="../tags/tag97.xml"/><Relationship Id="rId98" Type="http://schemas.openxmlformats.org/officeDocument/2006/relationships/tags" Target="../tags/tag187.xml"/><Relationship Id="rId121" Type="http://schemas.openxmlformats.org/officeDocument/2006/relationships/tags" Target="../tags/tag210.xml"/><Relationship Id="rId142" Type="http://schemas.openxmlformats.org/officeDocument/2006/relationships/tags" Target="../tags/tag231.xml"/><Relationship Id="rId163" Type="http://schemas.openxmlformats.org/officeDocument/2006/relationships/tags" Target="../tags/tag252.xml"/><Relationship Id="rId184" Type="http://schemas.openxmlformats.org/officeDocument/2006/relationships/tags" Target="../tags/tag273.xml"/><Relationship Id="rId219" Type="http://schemas.openxmlformats.org/officeDocument/2006/relationships/tags" Target="../tags/tag308.xml"/><Relationship Id="rId230" Type="http://schemas.openxmlformats.org/officeDocument/2006/relationships/tags" Target="../tags/tag319.xml"/><Relationship Id="rId251" Type="http://schemas.openxmlformats.org/officeDocument/2006/relationships/tags" Target="../tags/tag340.xml"/><Relationship Id="rId25" Type="http://schemas.openxmlformats.org/officeDocument/2006/relationships/tags" Target="../tags/tag114.xml"/><Relationship Id="rId46" Type="http://schemas.openxmlformats.org/officeDocument/2006/relationships/tags" Target="../tags/tag135.xml"/><Relationship Id="rId67" Type="http://schemas.openxmlformats.org/officeDocument/2006/relationships/tags" Target="../tags/tag156.xml"/><Relationship Id="rId272" Type="http://schemas.openxmlformats.org/officeDocument/2006/relationships/tags" Target="../tags/tag361.xml"/><Relationship Id="rId293" Type="http://schemas.openxmlformats.org/officeDocument/2006/relationships/tags" Target="../tags/tag382.xml"/><Relationship Id="rId307" Type="http://schemas.openxmlformats.org/officeDocument/2006/relationships/tags" Target="../tags/tag396.xml"/><Relationship Id="rId88" Type="http://schemas.openxmlformats.org/officeDocument/2006/relationships/tags" Target="../tags/tag177.xml"/><Relationship Id="rId111" Type="http://schemas.openxmlformats.org/officeDocument/2006/relationships/tags" Target="../tags/tag200.xml"/><Relationship Id="rId132" Type="http://schemas.openxmlformats.org/officeDocument/2006/relationships/tags" Target="../tags/tag221.xml"/><Relationship Id="rId153" Type="http://schemas.openxmlformats.org/officeDocument/2006/relationships/tags" Target="../tags/tag242.xml"/><Relationship Id="rId174" Type="http://schemas.openxmlformats.org/officeDocument/2006/relationships/tags" Target="../tags/tag263.xml"/><Relationship Id="rId195" Type="http://schemas.openxmlformats.org/officeDocument/2006/relationships/tags" Target="../tags/tag284.xml"/><Relationship Id="rId209" Type="http://schemas.openxmlformats.org/officeDocument/2006/relationships/tags" Target="../tags/tag298.xml"/><Relationship Id="rId220" Type="http://schemas.openxmlformats.org/officeDocument/2006/relationships/tags" Target="../tags/tag309.xml"/><Relationship Id="rId241" Type="http://schemas.openxmlformats.org/officeDocument/2006/relationships/tags" Target="../tags/tag330.xml"/><Relationship Id="rId15" Type="http://schemas.openxmlformats.org/officeDocument/2006/relationships/tags" Target="../tags/tag104.xml"/><Relationship Id="rId36" Type="http://schemas.openxmlformats.org/officeDocument/2006/relationships/tags" Target="../tags/tag125.xml"/><Relationship Id="rId57" Type="http://schemas.openxmlformats.org/officeDocument/2006/relationships/tags" Target="../tags/tag146.xml"/><Relationship Id="rId262" Type="http://schemas.openxmlformats.org/officeDocument/2006/relationships/tags" Target="../tags/tag351.xml"/><Relationship Id="rId283" Type="http://schemas.openxmlformats.org/officeDocument/2006/relationships/tags" Target="../tags/tag372.xml"/><Relationship Id="rId78" Type="http://schemas.openxmlformats.org/officeDocument/2006/relationships/tags" Target="../tags/tag167.xml"/><Relationship Id="rId99" Type="http://schemas.openxmlformats.org/officeDocument/2006/relationships/tags" Target="../tags/tag188.xml"/><Relationship Id="rId101" Type="http://schemas.openxmlformats.org/officeDocument/2006/relationships/tags" Target="../tags/tag190.xml"/><Relationship Id="rId122" Type="http://schemas.openxmlformats.org/officeDocument/2006/relationships/tags" Target="../tags/tag211.xml"/><Relationship Id="rId143" Type="http://schemas.openxmlformats.org/officeDocument/2006/relationships/tags" Target="../tags/tag232.xml"/><Relationship Id="rId164" Type="http://schemas.openxmlformats.org/officeDocument/2006/relationships/tags" Target="../tags/tag253.xml"/><Relationship Id="rId185" Type="http://schemas.openxmlformats.org/officeDocument/2006/relationships/tags" Target="../tags/tag274.xml"/><Relationship Id="rId9" Type="http://schemas.openxmlformats.org/officeDocument/2006/relationships/tags" Target="../tags/tag98.xml"/><Relationship Id="rId210" Type="http://schemas.openxmlformats.org/officeDocument/2006/relationships/tags" Target="../tags/tag299.xml"/><Relationship Id="rId26" Type="http://schemas.openxmlformats.org/officeDocument/2006/relationships/tags" Target="../tags/tag115.xml"/><Relationship Id="rId231" Type="http://schemas.openxmlformats.org/officeDocument/2006/relationships/tags" Target="../tags/tag320.xml"/><Relationship Id="rId252" Type="http://schemas.openxmlformats.org/officeDocument/2006/relationships/tags" Target="../tags/tag341.xml"/><Relationship Id="rId273" Type="http://schemas.openxmlformats.org/officeDocument/2006/relationships/tags" Target="../tags/tag362.xml"/><Relationship Id="rId294" Type="http://schemas.openxmlformats.org/officeDocument/2006/relationships/tags" Target="../tags/tag383.xml"/><Relationship Id="rId308" Type="http://schemas.openxmlformats.org/officeDocument/2006/relationships/tags" Target="../tags/tag397.xml"/><Relationship Id="rId47" Type="http://schemas.openxmlformats.org/officeDocument/2006/relationships/tags" Target="../tags/tag136.xml"/><Relationship Id="rId68" Type="http://schemas.openxmlformats.org/officeDocument/2006/relationships/tags" Target="../tags/tag157.xml"/><Relationship Id="rId89" Type="http://schemas.openxmlformats.org/officeDocument/2006/relationships/tags" Target="../tags/tag178.xml"/><Relationship Id="rId112" Type="http://schemas.openxmlformats.org/officeDocument/2006/relationships/tags" Target="../tags/tag201.xml"/><Relationship Id="rId133" Type="http://schemas.openxmlformats.org/officeDocument/2006/relationships/tags" Target="../tags/tag222.xml"/><Relationship Id="rId154" Type="http://schemas.openxmlformats.org/officeDocument/2006/relationships/tags" Target="../tags/tag243.xml"/><Relationship Id="rId175" Type="http://schemas.openxmlformats.org/officeDocument/2006/relationships/tags" Target="../tags/tag264.xml"/><Relationship Id="rId196" Type="http://schemas.openxmlformats.org/officeDocument/2006/relationships/tags" Target="../tags/tag285.xml"/><Relationship Id="rId200" Type="http://schemas.openxmlformats.org/officeDocument/2006/relationships/tags" Target="../tags/tag289.xml"/><Relationship Id="rId16" Type="http://schemas.openxmlformats.org/officeDocument/2006/relationships/tags" Target="../tags/tag105.xml"/><Relationship Id="rId221" Type="http://schemas.openxmlformats.org/officeDocument/2006/relationships/tags" Target="../tags/tag310.xml"/><Relationship Id="rId242" Type="http://schemas.openxmlformats.org/officeDocument/2006/relationships/tags" Target="../tags/tag331.xml"/><Relationship Id="rId263" Type="http://schemas.openxmlformats.org/officeDocument/2006/relationships/tags" Target="../tags/tag352.xml"/><Relationship Id="rId284" Type="http://schemas.openxmlformats.org/officeDocument/2006/relationships/tags" Target="../tags/tag373.xml"/><Relationship Id="rId37" Type="http://schemas.openxmlformats.org/officeDocument/2006/relationships/tags" Target="../tags/tag126.xml"/><Relationship Id="rId58" Type="http://schemas.openxmlformats.org/officeDocument/2006/relationships/tags" Target="../tags/tag147.xml"/><Relationship Id="rId79" Type="http://schemas.openxmlformats.org/officeDocument/2006/relationships/tags" Target="../tags/tag168.xml"/><Relationship Id="rId102" Type="http://schemas.openxmlformats.org/officeDocument/2006/relationships/tags" Target="../tags/tag191.xml"/><Relationship Id="rId123" Type="http://schemas.openxmlformats.org/officeDocument/2006/relationships/tags" Target="../tags/tag212.xml"/><Relationship Id="rId144" Type="http://schemas.openxmlformats.org/officeDocument/2006/relationships/tags" Target="../tags/tag233.xml"/><Relationship Id="rId90" Type="http://schemas.openxmlformats.org/officeDocument/2006/relationships/tags" Target="../tags/tag179.xml"/><Relationship Id="rId165" Type="http://schemas.openxmlformats.org/officeDocument/2006/relationships/tags" Target="../tags/tag254.xml"/><Relationship Id="rId186" Type="http://schemas.openxmlformats.org/officeDocument/2006/relationships/tags" Target="../tags/tag275.xml"/><Relationship Id="rId211" Type="http://schemas.openxmlformats.org/officeDocument/2006/relationships/tags" Target="../tags/tag300.xml"/><Relationship Id="rId232" Type="http://schemas.openxmlformats.org/officeDocument/2006/relationships/tags" Target="../tags/tag321.xml"/><Relationship Id="rId253" Type="http://schemas.openxmlformats.org/officeDocument/2006/relationships/tags" Target="../tags/tag342.xml"/><Relationship Id="rId274" Type="http://schemas.openxmlformats.org/officeDocument/2006/relationships/tags" Target="../tags/tag363.xml"/><Relationship Id="rId295" Type="http://schemas.openxmlformats.org/officeDocument/2006/relationships/tags" Target="../tags/tag384.xml"/><Relationship Id="rId309" Type="http://schemas.openxmlformats.org/officeDocument/2006/relationships/tags" Target="../tags/tag398.xml"/><Relationship Id="rId27" Type="http://schemas.openxmlformats.org/officeDocument/2006/relationships/tags" Target="../tags/tag116.xml"/><Relationship Id="rId48" Type="http://schemas.openxmlformats.org/officeDocument/2006/relationships/tags" Target="../tags/tag137.xml"/><Relationship Id="rId69" Type="http://schemas.openxmlformats.org/officeDocument/2006/relationships/tags" Target="../tags/tag158.xml"/><Relationship Id="rId113" Type="http://schemas.openxmlformats.org/officeDocument/2006/relationships/tags" Target="../tags/tag202.xml"/><Relationship Id="rId134" Type="http://schemas.openxmlformats.org/officeDocument/2006/relationships/tags" Target="../tags/tag223.xml"/><Relationship Id="rId80" Type="http://schemas.openxmlformats.org/officeDocument/2006/relationships/tags" Target="../tags/tag169.xml"/><Relationship Id="rId155" Type="http://schemas.openxmlformats.org/officeDocument/2006/relationships/tags" Target="../tags/tag244.xml"/><Relationship Id="rId176" Type="http://schemas.openxmlformats.org/officeDocument/2006/relationships/tags" Target="../tags/tag265.xml"/><Relationship Id="rId197" Type="http://schemas.openxmlformats.org/officeDocument/2006/relationships/tags" Target="../tags/tag286.xml"/><Relationship Id="rId201" Type="http://schemas.openxmlformats.org/officeDocument/2006/relationships/tags" Target="../tags/tag290.xml"/><Relationship Id="rId222" Type="http://schemas.openxmlformats.org/officeDocument/2006/relationships/tags" Target="../tags/tag311.xml"/><Relationship Id="rId243" Type="http://schemas.openxmlformats.org/officeDocument/2006/relationships/tags" Target="../tags/tag332.xml"/><Relationship Id="rId264" Type="http://schemas.openxmlformats.org/officeDocument/2006/relationships/tags" Target="../tags/tag353.xml"/><Relationship Id="rId285" Type="http://schemas.openxmlformats.org/officeDocument/2006/relationships/tags" Target="../tags/tag374.xml"/><Relationship Id="rId17" Type="http://schemas.openxmlformats.org/officeDocument/2006/relationships/tags" Target="../tags/tag106.xml"/><Relationship Id="rId38" Type="http://schemas.openxmlformats.org/officeDocument/2006/relationships/tags" Target="../tags/tag127.xml"/><Relationship Id="rId59" Type="http://schemas.openxmlformats.org/officeDocument/2006/relationships/tags" Target="../tags/tag148.xml"/><Relationship Id="rId103" Type="http://schemas.openxmlformats.org/officeDocument/2006/relationships/tags" Target="../tags/tag192.xml"/><Relationship Id="rId124" Type="http://schemas.openxmlformats.org/officeDocument/2006/relationships/tags" Target="../tags/tag213.xml"/><Relationship Id="rId310" Type="http://schemas.openxmlformats.org/officeDocument/2006/relationships/tags" Target="../tags/tag399.xml"/><Relationship Id="rId70" Type="http://schemas.openxmlformats.org/officeDocument/2006/relationships/tags" Target="../tags/tag159.xml"/><Relationship Id="rId91" Type="http://schemas.openxmlformats.org/officeDocument/2006/relationships/tags" Target="../tags/tag180.xml"/><Relationship Id="rId145" Type="http://schemas.openxmlformats.org/officeDocument/2006/relationships/tags" Target="../tags/tag234.xml"/><Relationship Id="rId166" Type="http://schemas.openxmlformats.org/officeDocument/2006/relationships/tags" Target="../tags/tag255.xml"/><Relationship Id="rId187" Type="http://schemas.openxmlformats.org/officeDocument/2006/relationships/tags" Target="../tags/tag276.xml"/><Relationship Id="rId1" Type="http://schemas.openxmlformats.org/officeDocument/2006/relationships/tags" Target="../tags/tag90.xml"/><Relationship Id="rId212" Type="http://schemas.openxmlformats.org/officeDocument/2006/relationships/tags" Target="../tags/tag301.xml"/><Relationship Id="rId233" Type="http://schemas.openxmlformats.org/officeDocument/2006/relationships/tags" Target="../tags/tag322.xml"/><Relationship Id="rId254" Type="http://schemas.openxmlformats.org/officeDocument/2006/relationships/tags" Target="../tags/tag343.xml"/><Relationship Id="rId28" Type="http://schemas.openxmlformats.org/officeDocument/2006/relationships/tags" Target="../tags/tag117.xml"/><Relationship Id="rId49" Type="http://schemas.openxmlformats.org/officeDocument/2006/relationships/tags" Target="../tags/tag138.xml"/><Relationship Id="rId114" Type="http://schemas.openxmlformats.org/officeDocument/2006/relationships/tags" Target="../tags/tag203.xml"/><Relationship Id="rId275" Type="http://schemas.openxmlformats.org/officeDocument/2006/relationships/tags" Target="../tags/tag364.xml"/><Relationship Id="rId296" Type="http://schemas.openxmlformats.org/officeDocument/2006/relationships/tags" Target="../tags/tag385.xml"/><Relationship Id="rId300" Type="http://schemas.openxmlformats.org/officeDocument/2006/relationships/tags" Target="../tags/tag389.xml"/><Relationship Id="rId60" Type="http://schemas.openxmlformats.org/officeDocument/2006/relationships/tags" Target="../tags/tag149.xml"/><Relationship Id="rId81" Type="http://schemas.openxmlformats.org/officeDocument/2006/relationships/tags" Target="../tags/tag170.xml"/><Relationship Id="rId135" Type="http://schemas.openxmlformats.org/officeDocument/2006/relationships/tags" Target="../tags/tag224.xml"/><Relationship Id="rId156" Type="http://schemas.openxmlformats.org/officeDocument/2006/relationships/tags" Target="../tags/tag245.xml"/><Relationship Id="rId177" Type="http://schemas.openxmlformats.org/officeDocument/2006/relationships/tags" Target="../tags/tag266.xml"/><Relationship Id="rId198" Type="http://schemas.openxmlformats.org/officeDocument/2006/relationships/tags" Target="../tags/tag287.xml"/><Relationship Id="rId202" Type="http://schemas.openxmlformats.org/officeDocument/2006/relationships/tags" Target="../tags/tag291.xml"/><Relationship Id="rId223" Type="http://schemas.openxmlformats.org/officeDocument/2006/relationships/tags" Target="../tags/tag312.xml"/><Relationship Id="rId244" Type="http://schemas.openxmlformats.org/officeDocument/2006/relationships/tags" Target="../tags/tag333.xml"/><Relationship Id="rId18" Type="http://schemas.openxmlformats.org/officeDocument/2006/relationships/tags" Target="../tags/tag107.xml"/><Relationship Id="rId39" Type="http://schemas.openxmlformats.org/officeDocument/2006/relationships/tags" Target="../tags/tag128.xml"/><Relationship Id="rId265" Type="http://schemas.openxmlformats.org/officeDocument/2006/relationships/tags" Target="../tags/tag354.xml"/><Relationship Id="rId286" Type="http://schemas.openxmlformats.org/officeDocument/2006/relationships/tags" Target="../tags/tag375.xml"/><Relationship Id="rId50" Type="http://schemas.openxmlformats.org/officeDocument/2006/relationships/tags" Target="../tags/tag139.xml"/><Relationship Id="rId104" Type="http://schemas.openxmlformats.org/officeDocument/2006/relationships/tags" Target="../tags/tag193.xml"/><Relationship Id="rId125" Type="http://schemas.openxmlformats.org/officeDocument/2006/relationships/tags" Target="../tags/tag214.xml"/><Relationship Id="rId146" Type="http://schemas.openxmlformats.org/officeDocument/2006/relationships/tags" Target="../tags/tag235.xml"/><Relationship Id="rId167" Type="http://schemas.openxmlformats.org/officeDocument/2006/relationships/tags" Target="../tags/tag256.xml"/><Relationship Id="rId188" Type="http://schemas.openxmlformats.org/officeDocument/2006/relationships/tags" Target="../tags/tag277.xml"/><Relationship Id="rId311" Type="http://schemas.openxmlformats.org/officeDocument/2006/relationships/tags" Target="../tags/tag400.xml"/><Relationship Id="rId71" Type="http://schemas.openxmlformats.org/officeDocument/2006/relationships/tags" Target="../tags/tag160.xml"/><Relationship Id="rId92" Type="http://schemas.openxmlformats.org/officeDocument/2006/relationships/tags" Target="../tags/tag181.xml"/><Relationship Id="rId213" Type="http://schemas.openxmlformats.org/officeDocument/2006/relationships/tags" Target="../tags/tag302.xml"/><Relationship Id="rId234" Type="http://schemas.openxmlformats.org/officeDocument/2006/relationships/tags" Target="../tags/tag323.xml"/><Relationship Id="rId2" Type="http://schemas.openxmlformats.org/officeDocument/2006/relationships/tags" Target="../tags/tag91.xml"/><Relationship Id="rId29" Type="http://schemas.openxmlformats.org/officeDocument/2006/relationships/tags" Target="../tags/tag118.xml"/><Relationship Id="rId255" Type="http://schemas.openxmlformats.org/officeDocument/2006/relationships/tags" Target="../tags/tag344.xml"/><Relationship Id="rId276" Type="http://schemas.openxmlformats.org/officeDocument/2006/relationships/tags" Target="../tags/tag365.xml"/><Relationship Id="rId297" Type="http://schemas.openxmlformats.org/officeDocument/2006/relationships/tags" Target="../tags/tag386.xml"/><Relationship Id="rId40" Type="http://schemas.openxmlformats.org/officeDocument/2006/relationships/tags" Target="../tags/tag129.xml"/><Relationship Id="rId115" Type="http://schemas.openxmlformats.org/officeDocument/2006/relationships/tags" Target="../tags/tag204.xml"/><Relationship Id="rId136" Type="http://schemas.openxmlformats.org/officeDocument/2006/relationships/tags" Target="../tags/tag225.xml"/><Relationship Id="rId157" Type="http://schemas.openxmlformats.org/officeDocument/2006/relationships/tags" Target="../tags/tag246.xml"/><Relationship Id="rId178" Type="http://schemas.openxmlformats.org/officeDocument/2006/relationships/tags" Target="../tags/tag267.xml"/><Relationship Id="rId301" Type="http://schemas.openxmlformats.org/officeDocument/2006/relationships/tags" Target="../tags/tag390.xml"/><Relationship Id="rId61" Type="http://schemas.openxmlformats.org/officeDocument/2006/relationships/tags" Target="../tags/tag150.xml"/><Relationship Id="rId82" Type="http://schemas.openxmlformats.org/officeDocument/2006/relationships/tags" Target="../tags/tag171.xml"/><Relationship Id="rId199" Type="http://schemas.openxmlformats.org/officeDocument/2006/relationships/tags" Target="../tags/tag288.xml"/><Relationship Id="rId203" Type="http://schemas.openxmlformats.org/officeDocument/2006/relationships/tags" Target="../tags/tag292.xml"/><Relationship Id="rId19" Type="http://schemas.openxmlformats.org/officeDocument/2006/relationships/tags" Target="../tags/tag108.xml"/><Relationship Id="rId224" Type="http://schemas.openxmlformats.org/officeDocument/2006/relationships/tags" Target="../tags/tag313.xml"/><Relationship Id="rId245" Type="http://schemas.openxmlformats.org/officeDocument/2006/relationships/tags" Target="../tags/tag334.xml"/><Relationship Id="rId266" Type="http://schemas.openxmlformats.org/officeDocument/2006/relationships/tags" Target="../tags/tag355.xml"/><Relationship Id="rId287" Type="http://schemas.openxmlformats.org/officeDocument/2006/relationships/tags" Target="../tags/tag376.xml"/><Relationship Id="rId30" Type="http://schemas.openxmlformats.org/officeDocument/2006/relationships/tags" Target="../tags/tag119.xml"/><Relationship Id="rId105" Type="http://schemas.openxmlformats.org/officeDocument/2006/relationships/tags" Target="../tags/tag194.xml"/><Relationship Id="rId126" Type="http://schemas.openxmlformats.org/officeDocument/2006/relationships/tags" Target="../tags/tag215.xml"/><Relationship Id="rId147" Type="http://schemas.openxmlformats.org/officeDocument/2006/relationships/tags" Target="../tags/tag236.xml"/><Relationship Id="rId168" Type="http://schemas.openxmlformats.org/officeDocument/2006/relationships/tags" Target="../tags/tag257.xml"/><Relationship Id="rId312" Type="http://schemas.openxmlformats.org/officeDocument/2006/relationships/tags" Target="../tags/tag401.xml"/><Relationship Id="rId51" Type="http://schemas.openxmlformats.org/officeDocument/2006/relationships/tags" Target="../tags/tag140.xml"/><Relationship Id="rId72" Type="http://schemas.openxmlformats.org/officeDocument/2006/relationships/tags" Target="../tags/tag161.xml"/><Relationship Id="rId93" Type="http://schemas.openxmlformats.org/officeDocument/2006/relationships/tags" Target="../tags/tag182.xml"/><Relationship Id="rId189" Type="http://schemas.openxmlformats.org/officeDocument/2006/relationships/tags" Target="../tags/tag278.xml"/><Relationship Id="rId3" Type="http://schemas.openxmlformats.org/officeDocument/2006/relationships/tags" Target="../tags/tag92.xml"/><Relationship Id="rId214" Type="http://schemas.openxmlformats.org/officeDocument/2006/relationships/tags" Target="../tags/tag303.xml"/><Relationship Id="rId235" Type="http://schemas.openxmlformats.org/officeDocument/2006/relationships/tags" Target="../tags/tag324.xml"/><Relationship Id="rId256" Type="http://schemas.openxmlformats.org/officeDocument/2006/relationships/tags" Target="../tags/tag345.xml"/><Relationship Id="rId277" Type="http://schemas.openxmlformats.org/officeDocument/2006/relationships/tags" Target="../tags/tag366.xml"/><Relationship Id="rId298" Type="http://schemas.openxmlformats.org/officeDocument/2006/relationships/tags" Target="../tags/tag387.xml"/><Relationship Id="rId116" Type="http://schemas.openxmlformats.org/officeDocument/2006/relationships/tags" Target="../tags/tag205.xml"/><Relationship Id="rId137" Type="http://schemas.openxmlformats.org/officeDocument/2006/relationships/tags" Target="../tags/tag226.xml"/><Relationship Id="rId158" Type="http://schemas.openxmlformats.org/officeDocument/2006/relationships/tags" Target="../tags/tag247.xml"/><Relationship Id="rId302" Type="http://schemas.openxmlformats.org/officeDocument/2006/relationships/tags" Target="../tags/tag391.xml"/><Relationship Id="rId20" Type="http://schemas.openxmlformats.org/officeDocument/2006/relationships/tags" Target="../tags/tag109.xml"/><Relationship Id="rId41" Type="http://schemas.openxmlformats.org/officeDocument/2006/relationships/tags" Target="../tags/tag130.xml"/><Relationship Id="rId62" Type="http://schemas.openxmlformats.org/officeDocument/2006/relationships/tags" Target="../tags/tag151.xml"/><Relationship Id="rId83" Type="http://schemas.openxmlformats.org/officeDocument/2006/relationships/tags" Target="../tags/tag172.xml"/><Relationship Id="rId179" Type="http://schemas.openxmlformats.org/officeDocument/2006/relationships/tags" Target="../tags/tag268.xml"/><Relationship Id="rId190" Type="http://schemas.openxmlformats.org/officeDocument/2006/relationships/tags" Target="../tags/tag279.xml"/><Relationship Id="rId204" Type="http://schemas.openxmlformats.org/officeDocument/2006/relationships/tags" Target="../tags/tag293.xml"/><Relationship Id="rId225" Type="http://schemas.openxmlformats.org/officeDocument/2006/relationships/tags" Target="../tags/tag314.xml"/><Relationship Id="rId246" Type="http://schemas.openxmlformats.org/officeDocument/2006/relationships/tags" Target="../tags/tag335.xml"/><Relationship Id="rId267" Type="http://schemas.openxmlformats.org/officeDocument/2006/relationships/tags" Target="../tags/tag356.xml"/><Relationship Id="rId288" Type="http://schemas.openxmlformats.org/officeDocument/2006/relationships/tags" Target="../tags/tag377.xml"/><Relationship Id="rId106" Type="http://schemas.openxmlformats.org/officeDocument/2006/relationships/tags" Target="../tags/tag195.xml"/><Relationship Id="rId127" Type="http://schemas.openxmlformats.org/officeDocument/2006/relationships/tags" Target="../tags/tag216.xml"/><Relationship Id="rId313" Type="http://schemas.openxmlformats.org/officeDocument/2006/relationships/tags" Target="../tags/tag402.xml"/><Relationship Id="rId10" Type="http://schemas.openxmlformats.org/officeDocument/2006/relationships/tags" Target="../tags/tag99.xml"/><Relationship Id="rId31" Type="http://schemas.openxmlformats.org/officeDocument/2006/relationships/tags" Target="../tags/tag120.xml"/><Relationship Id="rId52" Type="http://schemas.openxmlformats.org/officeDocument/2006/relationships/tags" Target="../tags/tag141.xml"/><Relationship Id="rId73" Type="http://schemas.openxmlformats.org/officeDocument/2006/relationships/tags" Target="../tags/tag162.xml"/><Relationship Id="rId94" Type="http://schemas.openxmlformats.org/officeDocument/2006/relationships/tags" Target="../tags/tag183.xml"/><Relationship Id="rId148" Type="http://schemas.openxmlformats.org/officeDocument/2006/relationships/tags" Target="../tags/tag237.xml"/><Relationship Id="rId169" Type="http://schemas.openxmlformats.org/officeDocument/2006/relationships/tags" Target="../tags/tag258.xml"/><Relationship Id="rId4" Type="http://schemas.openxmlformats.org/officeDocument/2006/relationships/tags" Target="../tags/tag93.xml"/><Relationship Id="rId180" Type="http://schemas.openxmlformats.org/officeDocument/2006/relationships/tags" Target="../tags/tag269.xml"/><Relationship Id="rId215" Type="http://schemas.openxmlformats.org/officeDocument/2006/relationships/tags" Target="../tags/tag304.xml"/><Relationship Id="rId236" Type="http://schemas.openxmlformats.org/officeDocument/2006/relationships/tags" Target="../tags/tag325.xml"/><Relationship Id="rId257" Type="http://schemas.openxmlformats.org/officeDocument/2006/relationships/tags" Target="../tags/tag346.xml"/><Relationship Id="rId278" Type="http://schemas.openxmlformats.org/officeDocument/2006/relationships/tags" Target="../tags/tag367.xml"/><Relationship Id="rId303" Type="http://schemas.openxmlformats.org/officeDocument/2006/relationships/tags" Target="../tags/tag392.xml"/><Relationship Id="rId42" Type="http://schemas.openxmlformats.org/officeDocument/2006/relationships/tags" Target="../tags/tag131.xml"/><Relationship Id="rId84" Type="http://schemas.openxmlformats.org/officeDocument/2006/relationships/tags" Target="../tags/tag173.xml"/><Relationship Id="rId138" Type="http://schemas.openxmlformats.org/officeDocument/2006/relationships/tags" Target="../tags/tag227.xml"/><Relationship Id="rId191" Type="http://schemas.openxmlformats.org/officeDocument/2006/relationships/tags" Target="../tags/tag280.xml"/><Relationship Id="rId205" Type="http://schemas.openxmlformats.org/officeDocument/2006/relationships/tags" Target="../tags/tag294.xml"/><Relationship Id="rId247" Type="http://schemas.openxmlformats.org/officeDocument/2006/relationships/tags" Target="../tags/tag336.xml"/><Relationship Id="rId107" Type="http://schemas.openxmlformats.org/officeDocument/2006/relationships/tags" Target="../tags/tag196.xml"/><Relationship Id="rId289" Type="http://schemas.openxmlformats.org/officeDocument/2006/relationships/tags" Target="../tags/tag378.xml"/><Relationship Id="rId11" Type="http://schemas.openxmlformats.org/officeDocument/2006/relationships/tags" Target="../tags/tag100.xml"/><Relationship Id="rId53" Type="http://schemas.openxmlformats.org/officeDocument/2006/relationships/tags" Target="../tags/tag142.xml"/><Relationship Id="rId149" Type="http://schemas.openxmlformats.org/officeDocument/2006/relationships/tags" Target="../tags/tag238.xml"/><Relationship Id="rId314" Type="http://schemas.openxmlformats.org/officeDocument/2006/relationships/tags" Target="../tags/tag403.xml"/><Relationship Id="rId95" Type="http://schemas.openxmlformats.org/officeDocument/2006/relationships/tags" Target="../tags/tag184.xml"/><Relationship Id="rId160" Type="http://schemas.openxmlformats.org/officeDocument/2006/relationships/tags" Target="../tags/tag249.xml"/><Relationship Id="rId216" Type="http://schemas.openxmlformats.org/officeDocument/2006/relationships/tags" Target="../tags/tag305.xml"/><Relationship Id="rId258" Type="http://schemas.openxmlformats.org/officeDocument/2006/relationships/tags" Target="../tags/tag347.xml"/><Relationship Id="rId22" Type="http://schemas.openxmlformats.org/officeDocument/2006/relationships/tags" Target="../tags/tag111.xml"/><Relationship Id="rId64" Type="http://schemas.openxmlformats.org/officeDocument/2006/relationships/tags" Target="../tags/tag153.xml"/><Relationship Id="rId118" Type="http://schemas.openxmlformats.org/officeDocument/2006/relationships/tags" Target="../tags/tag207.xml"/><Relationship Id="rId171" Type="http://schemas.openxmlformats.org/officeDocument/2006/relationships/tags" Target="../tags/tag260.xml"/><Relationship Id="rId227" Type="http://schemas.openxmlformats.org/officeDocument/2006/relationships/tags" Target="../tags/tag316.xml"/><Relationship Id="rId269" Type="http://schemas.openxmlformats.org/officeDocument/2006/relationships/tags" Target="../tags/tag358.xml"/><Relationship Id="rId33" Type="http://schemas.openxmlformats.org/officeDocument/2006/relationships/tags" Target="../tags/tag122.xml"/><Relationship Id="rId129" Type="http://schemas.openxmlformats.org/officeDocument/2006/relationships/tags" Target="../tags/tag218.xml"/><Relationship Id="rId280" Type="http://schemas.openxmlformats.org/officeDocument/2006/relationships/tags" Target="../tags/tag369.xml"/><Relationship Id="rId75" Type="http://schemas.openxmlformats.org/officeDocument/2006/relationships/tags" Target="../tags/tag164.xml"/><Relationship Id="rId140" Type="http://schemas.openxmlformats.org/officeDocument/2006/relationships/tags" Target="../tags/tag229.xml"/><Relationship Id="rId182" Type="http://schemas.openxmlformats.org/officeDocument/2006/relationships/tags" Target="../tags/tag271.xml"/><Relationship Id="rId6" Type="http://schemas.openxmlformats.org/officeDocument/2006/relationships/tags" Target="../tags/tag95.xml"/><Relationship Id="rId238" Type="http://schemas.openxmlformats.org/officeDocument/2006/relationships/tags" Target="../tags/tag327.xml"/><Relationship Id="rId291" Type="http://schemas.openxmlformats.org/officeDocument/2006/relationships/tags" Target="../tags/tag380.xml"/><Relationship Id="rId305" Type="http://schemas.openxmlformats.org/officeDocument/2006/relationships/tags" Target="../tags/tag394.xml"/><Relationship Id="rId44" Type="http://schemas.openxmlformats.org/officeDocument/2006/relationships/tags" Target="../tags/tag133.xml"/><Relationship Id="rId86" Type="http://schemas.openxmlformats.org/officeDocument/2006/relationships/tags" Target="../tags/tag175.xml"/><Relationship Id="rId151" Type="http://schemas.openxmlformats.org/officeDocument/2006/relationships/tags" Target="../tags/tag2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0" y="4437112"/>
            <a:ext cx="12192000" cy="1122108"/>
          </a:xfrm>
          <a:solidFill>
            <a:srgbClr val="3F9B4E">
              <a:alpha val="60000"/>
            </a:srgbClr>
          </a:solidFill>
        </p:spPr>
        <p:txBody>
          <a:bodyPr/>
          <a:lstStyle/>
          <a:p>
            <a:r>
              <a:rPr lang="en-US" sz="1800" dirty="0">
                <a:solidFill>
                  <a:schemeClr val="bg1"/>
                </a:solidFill>
              </a:rPr>
              <a:t>     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-12522" y="6027272"/>
            <a:ext cx="12192000" cy="576064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WWW.BUTB.BY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4" name="Текст 8">
            <a:extLst>
              <a:ext uri="{FF2B5EF4-FFF2-40B4-BE49-F238E27FC236}">
                <a16:creationId xmlns:a16="http://schemas.microsoft.com/office/drawing/2014/main" id="{DD762A4C-B98F-4C12-A08B-CB141AA4F7CE}"/>
              </a:ext>
            </a:extLst>
          </p:cNvPr>
          <p:cNvSpPr txBox="1">
            <a:spLocks/>
          </p:cNvSpPr>
          <p:nvPr/>
        </p:nvSpPr>
        <p:spPr>
          <a:xfrm>
            <a:off x="0" y="3609020"/>
            <a:ext cx="12192000" cy="57606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829544" rtl="0" eaLnBrk="1" latinLnBrk="1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1270" b="1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74004" indent="-259232" algn="l" defTabSz="829544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6930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1701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6473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1245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96017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10789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25561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600" dirty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B9DB593-F9D3-4DAF-B16C-C551EA5351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264" y="4364127"/>
            <a:ext cx="11016427" cy="12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481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143" y="2273269"/>
            <a:ext cx="2919009" cy="1700551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ru-RU" sz="3600" dirty="0">
                <a:sym typeface="Roboto" pitchFamily="2" charset="0"/>
              </a:rPr>
              <a:t>Участие РБ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в мировых рейтингах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0D0943C-C659-42F5-9854-98F85A2F1BA5}"/>
              </a:ext>
            </a:extLst>
          </p:cNvPr>
          <p:cNvGrpSpPr/>
          <p:nvPr/>
        </p:nvGrpSpPr>
        <p:grpSpPr>
          <a:xfrm>
            <a:off x="3514630" y="1542952"/>
            <a:ext cx="6381157" cy="1323439"/>
            <a:chOff x="4568864" y="1728890"/>
            <a:chExt cx="6381157" cy="1323439"/>
          </a:xfrm>
        </p:grpSpPr>
        <p:sp>
          <p:nvSpPr>
            <p:cNvPr id="18" name="TextBox 17"/>
            <p:cNvSpPr txBox="1"/>
            <p:nvPr/>
          </p:nvSpPr>
          <p:spPr>
            <a:xfrm>
              <a:off x="4568864" y="1728890"/>
              <a:ext cx="111813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3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146679" y="1950488"/>
              <a:ext cx="3803342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по экспорту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сливочного масла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9CBB3A9-E67C-4A5D-BEFD-A94100119232}"/>
                </a:ext>
              </a:extLst>
            </p:cNvPr>
            <p:cNvSpPr txBox="1"/>
            <p:nvPr/>
          </p:nvSpPr>
          <p:spPr>
            <a:xfrm>
              <a:off x="5649959" y="2011927"/>
              <a:ext cx="1625136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есто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в мире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23F26C7-0EDA-4248-83DD-5AE90AD9C24D}"/>
              </a:ext>
            </a:extLst>
          </p:cNvPr>
          <p:cNvGrpSpPr/>
          <p:nvPr/>
        </p:nvGrpSpPr>
        <p:grpSpPr>
          <a:xfrm>
            <a:off x="2891644" y="327518"/>
            <a:ext cx="6849091" cy="1323439"/>
            <a:chOff x="3971482" y="327518"/>
            <a:chExt cx="6849091" cy="1323439"/>
          </a:xfrm>
        </p:grpSpPr>
        <p:sp>
          <p:nvSpPr>
            <p:cNvPr id="8" name="TextBox 7"/>
            <p:cNvSpPr txBox="1"/>
            <p:nvPr/>
          </p:nvSpPr>
          <p:spPr>
            <a:xfrm>
              <a:off x="3971482" y="327518"/>
              <a:ext cx="171551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16</a:t>
              </a: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126799" y="610415"/>
              <a:ext cx="3693774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dirty="0">
                  <a:solidFill>
                    <a:prstClr val="black"/>
                  </a:solidFill>
                  <a:latin typeface="Arial"/>
                  <a:ea typeface="Arial Unicode MS"/>
                </a:rPr>
                <a:t>по производству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dirty="0">
                  <a:solidFill>
                    <a:prstClr val="black"/>
                  </a:solidFill>
                  <a:latin typeface="Arial"/>
                  <a:ea typeface="Arial Unicode MS"/>
                </a:rPr>
                <a:t>молока</a:t>
              </a: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34FC9EA-19AC-43D3-837F-3090010EEA91}"/>
                </a:ext>
              </a:extLst>
            </p:cNvPr>
            <p:cNvSpPr txBox="1"/>
            <p:nvPr/>
          </p:nvSpPr>
          <p:spPr>
            <a:xfrm>
              <a:off x="5643457" y="659660"/>
              <a:ext cx="1471010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есто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в мире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92EAE4B-1F0F-4C87-8807-86D55B7866D3}"/>
              </a:ext>
            </a:extLst>
          </p:cNvPr>
          <p:cNvGrpSpPr/>
          <p:nvPr/>
        </p:nvGrpSpPr>
        <p:grpSpPr>
          <a:xfrm>
            <a:off x="3514630" y="2758386"/>
            <a:ext cx="6381157" cy="1323439"/>
            <a:chOff x="4574162" y="2922919"/>
            <a:chExt cx="6381157" cy="1323439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D317A22-BEF7-4FC3-B908-D5EB5F10344C}"/>
                </a:ext>
              </a:extLst>
            </p:cNvPr>
            <p:cNvSpPr txBox="1"/>
            <p:nvPr/>
          </p:nvSpPr>
          <p:spPr>
            <a:xfrm>
              <a:off x="4574162" y="2922919"/>
              <a:ext cx="111813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3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4E213F3-6F71-4D5B-8339-371023777D86}"/>
                </a:ext>
              </a:extLst>
            </p:cNvPr>
            <p:cNvSpPr txBox="1"/>
            <p:nvPr/>
          </p:nvSpPr>
          <p:spPr>
            <a:xfrm>
              <a:off x="7151977" y="3144517"/>
              <a:ext cx="3803342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по экспорту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сухой сыворотки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A733B4F-8A28-46D3-AF01-EDF2B7461C65}"/>
                </a:ext>
              </a:extLst>
            </p:cNvPr>
            <p:cNvSpPr txBox="1"/>
            <p:nvPr/>
          </p:nvSpPr>
          <p:spPr>
            <a:xfrm>
              <a:off x="5655257" y="3205956"/>
              <a:ext cx="1625136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есто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в мире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BC8CE92E-896F-4004-9264-FCAEB1943C9D}"/>
              </a:ext>
            </a:extLst>
          </p:cNvPr>
          <p:cNvGrpSpPr/>
          <p:nvPr/>
        </p:nvGrpSpPr>
        <p:grpSpPr>
          <a:xfrm>
            <a:off x="3514630" y="3973820"/>
            <a:ext cx="6381157" cy="1323439"/>
            <a:chOff x="4574162" y="2922919"/>
            <a:chExt cx="6381157" cy="132343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B4461CC-7FEC-44B7-BB0A-3646C4E85ACF}"/>
                </a:ext>
              </a:extLst>
            </p:cNvPr>
            <p:cNvSpPr txBox="1"/>
            <p:nvPr/>
          </p:nvSpPr>
          <p:spPr>
            <a:xfrm>
              <a:off x="4574162" y="2922919"/>
              <a:ext cx="111813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4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CE9CE95-9040-4CBC-98A9-807E9FB8399C}"/>
                </a:ext>
              </a:extLst>
            </p:cNvPr>
            <p:cNvSpPr txBox="1"/>
            <p:nvPr/>
          </p:nvSpPr>
          <p:spPr>
            <a:xfrm>
              <a:off x="7151977" y="3144517"/>
              <a:ext cx="3803342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по экспорту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сыров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9260D7-09FD-4B86-A391-CCD36D8613C3}"/>
                </a:ext>
              </a:extLst>
            </p:cNvPr>
            <p:cNvSpPr txBox="1"/>
            <p:nvPr/>
          </p:nvSpPr>
          <p:spPr>
            <a:xfrm>
              <a:off x="5655257" y="3205956"/>
              <a:ext cx="1625136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есто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в мире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99D912C4-D791-4F13-BBD4-27DCCF9954B2}"/>
              </a:ext>
            </a:extLst>
          </p:cNvPr>
          <p:cNvGrpSpPr/>
          <p:nvPr/>
        </p:nvGrpSpPr>
        <p:grpSpPr>
          <a:xfrm>
            <a:off x="3514630" y="5189256"/>
            <a:ext cx="6381157" cy="1323439"/>
            <a:chOff x="4574162" y="2922919"/>
            <a:chExt cx="6381157" cy="1323439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3FADEC5-42A4-4671-BEBD-074344DFE1F3}"/>
                </a:ext>
              </a:extLst>
            </p:cNvPr>
            <p:cNvSpPr txBox="1"/>
            <p:nvPr/>
          </p:nvSpPr>
          <p:spPr>
            <a:xfrm>
              <a:off x="4574162" y="2922919"/>
              <a:ext cx="111813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5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240A4AE-2076-485A-8FFA-E067B04C8FEF}"/>
                </a:ext>
              </a:extLst>
            </p:cNvPr>
            <p:cNvSpPr txBox="1"/>
            <p:nvPr/>
          </p:nvSpPr>
          <p:spPr>
            <a:xfrm>
              <a:off x="7151977" y="3144517"/>
              <a:ext cx="3803342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по экспорту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СОМ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7A132DA-ED0B-4C15-B9D5-B22D7C300A6C}"/>
                </a:ext>
              </a:extLst>
            </p:cNvPr>
            <p:cNvSpPr txBox="1"/>
            <p:nvPr/>
          </p:nvSpPr>
          <p:spPr>
            <a:xfrm>
              <a:off x="5655257" y="3205956"/>
              <a:ext cx="1625136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есто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в мире</a:t>
              </a:r>
            </a:p>
          </p:txBody>
        </p:sp>
      </p:grp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75E3CBED-F9E1-4D97-B893-416F0FCAA8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2821024"/>
            <a:ext cx="1649273" cy="1374394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36929530-F046-4B51-95F8-BAAA0C78AB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787" y="1605577"/>
            <a:ext cx="1333794" cy="1164293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11E58D45-9236-40B9-B00D-225AE1D262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0356" y="3806038"/>
            <a:ext cx="1747551" cy="165899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89DF5E-5397-4D10-89E8-D6D94062C3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46911"/>
            <a:ext cx="2119758" cy="1443745"/>
          </a:xfrm>
          <a:prstGeom prst="rect">
            <a:avLst/>
          </a:prstGeom>
        </p:spPr>
      </p:pic>
      <p:sp>
        <p:nvSpPr>
          <p:cNvPr id="45" name="Rectangle 7">
            <a:extLst>
              <a:ext uri="{FF2B5EF4-FFF2-40B4-BE49-F238E27FC236}">
                <a16:creationId xmlns:a16="http://schemas.microsoft.com/office/drawing/2014/main" id="{A71662E9-D45D-4775-959B-F8C4532AA158}"/>
              </a:ext>
            </a:extLst>
          </p:cNvPr>
          <p:cNvSpPr/>
          <p:nvPr/>
        </p:nvSpPr>
        <p:spPr>
          <a:xfrm>
            <a:off x="911423" y="4869160"/>
            <a:ext cx="634039" cy="640824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45AB9B2F-75A0-4CBD-85BF-8203FE5633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362" y="4892833"/>
            <a:ext cx="1884820" cy="174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7282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8F63954-027A-4237-8391-AE5829CD190E}"/>
              </a:ext>
            </a:extLst>
          </p:cNvPr>
          <p:cNvGrpSpPr/>
          <p:nvPr/>
        </p:nvGrpSpPr>
        <p:grpSpPr>
          <a:xfrm>
            <a:off x="3647728" y="2551291"/>
            <a:ext cx="7586936" cy="1010533"/>
            <a:chOff x="4157271" y="4770244"/>
            <a:chExt cx="8890074" cy="101053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E6CB4D1-8B31-477D-A4BA-DE2532D2AFE7}"/>
                </a:ext>
              </a:extLst>
            </p:cNvPr>
            <p:cNvSpPr txBox="1"/>
            <p:nvPr/>
          </p:nvSpPr>
          <p:spPr>
            <a:xfrm>
              <a:off x="4726658" y="5056392"/>
              <a:ext cx="83206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  <a:sym typeface="Roboto" pitchFamily="2" charset="0"/>
                </a:rPr>
                <a:t>Сыры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DAA59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itchFamily="34" charset="0"/>
                <a:sym typeface="Roboto" pitchFamily="2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A5B2B6D-0572-4614-B5EA-0DB87335E7EC}"/>
                </a:ext>
              </a:extLst>
            </p:cNvPr>
            <p:cNvSpPr txBox="1"/>
            <p:nvPr/>
          </p:nvSpPr>
          <p:spPr>
            <a:xfrm>
              <a:off x="4157271" y="4770244"/>
              <a:ext cx="569387" cy="1010533"/>
            </a:xfrm>
            <a:prstGeom prst="rect">
              <a:avLst/>
            </a:prstGeom>
            <a:noFill/>
          </p:spPr>
          <p:txBody>
            <a:bodyPr wrap="non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4</a:t>
              </a:r>
              <a:endPara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C8CDD05-4C78-4F5A-A7FC-F22371E1C9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C8CDD05-4C78-4F5A-A7FC-F22371E1C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8A214500-0F2D-454C-9428-68B9FF90BAA8}"/>
              </a:ext>
            </a:extLst>
          </p:cNvPr>
          <p:cNvGrpSpPr/>
          <p:nvPr/>
        </p:nvGrpSpPr>
        <p:grpSpPr>
          <a:xfrm>
            <a:off x="3575720" y="49052"/>
            <a:ext cx="6308553" cy="1010533"/>
            <a:chOff x="4157271" y="488203"/>
            <a:chExt cx="6611513" cy="1010533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6BBA7EA-184D-49AB-985C-C81F4DCF1FA4}"/>
                </a:ext>
              </a:extLst>
            </p:cNvPr>
            <p:cNvSpPr txBox="1"/>
            <p:nvPr/>
          </p:nvSpPr>
          <p:spPr>
            <a:xfrm>
              <a:off x="4690677" y="797197"/>
              <a:ext cx="60781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</a:rPr>
                <a:t>Сухое обезжиренное молоко</a:t>
              </a:r>
              <a:endPara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AD89DC-9002-44CE-B8F0-59DDED0753B4}"/>
                </a:ext>
              </a:extLst>
            </p:cNvPr>
            <p:cNvSpPr txBox="1"/>
            <p:nvPr/>
          </p:nvSpPr>
          <p:spPr>
            <a:xfrm>
              <a:off x="4157271" y="488203"/>
              <a:ext cx="569387" cy="1010533"/>
            </a:xfrm>
            <a:prstGeom prst="rect">
              <a:avLst/>
            </a:prstGeom>
            <a:noFill/>
          </p:spPr>
          <p:txBody>
            <a:bodyPr wrap="non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1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B8951420-AEBB-4FDC-8844-1D390C4DF6EC}"/>
              </a:ext>
            </a:extLst>
          </p:cNvPr>
          <p:cNvGrpSpPr/>
          <p:nvPr/>
        </p:nvGrpSpPr>
        <p:grpSpPr>
          <a:xfrm>
            <a:off x="3575720" y="879265"/>
            <a:ext cx="6547904" cy="1010533"/>
            <a:chOff x="4157271" y="2680173"/>
            <a:chExt cx="6922872" cy="101053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9A3BE51-1889-44A3-8BF5-E6DF5E8D1735}"/>
                </a:ext>
              </a:extLst>
            </p:cNvPr>
            <p:cNvSpPr txBox="1"/>
            <p:nvPr/>
          </p:nvSpPr>
          <p:spPr>
            <a:xfrm>
              <a:off x="4700728" y="2956688"/>
              <a:ext cx="637941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  <a:sym typeface="Roboto" pitchFamily="2" charset="0"/>
                </a:rPr>
                <a:t>Сухое цельное молоко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D145989-EBD8-4137-ADA3-ADCFB7FC2453}"/>
                </a:ext>
              </a:extLst>
            </p:cNvPr>
            <p:cNvSpPr txBox="1"/>
            <p:nvPr/>
          </p:nvSpPr>
          <p:spPr>
            <a:xfrm>
              <a:off x="4157271" y="2680173"/>
              <a:ext cx="569387" cy="1010533"/>
            </a:xfrm>
            <a:prstGeom prst="rect">
              <a:avLst/>
            </a:prstGeom>
            <a:noFill/>
          </p:spPr>
          <p:txBody>
            <a:bodyPr wrap="non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2</a:t>
              </a:r>
              <a:endPara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D8918CD9-CADC-40C5-8B3C-0792D0BDA564}"/>
              </a:ext>
            </a:extLst>
          </p:cNvPr>
          <p:cNvGrpSpPr/>
          <p:nvPr/>
        </p:nvGrpSpPr>
        <p:grpSpPr>
          <a:xfrm>
            <a:off x="3647728" y="1709478"/>
            <a:ext cx="5925704" cy="1010533"/>
            <a:chOff x="4241903" y="3776157"/>
            <a:chExt cx="6321748" cy="101053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9FB1138-CD01-448E-A3FA-DD2F9270B58F}"/>
                </a:ext>
              </a:extLst>
            </p:cNvPr>
            <p:cNvSpPr txBox="1"/>
            <p:nvPr/>
          </p:nvSpPr>
          <p:spPr>
            <a:xfrm>
              <a:off x="4756617" y="4027400"/>
              <a:ext cx="58070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  <a:sym typeface="Roboto" pitchFamily="2" charset="0"/>
                </a:rPr>
                <a:t>Масло сливочное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4AF5D3A-FA29-44F3-9038-87F2850A2D14}"/>
                </a:ext>
              </a:extLst>
            </p:cNvPr>
            <p:cNvSpPr txBox="1"/>
            <p:nvPr/>
          </p:nvSpPr>
          <p:spPr>
            <a:xfrm>
              <a:off x="4241903" y="3776157"/>
              <a:ext cx="484755" cy="1010533"/>
            </a:xfrm>
            <a:prstGeom prst="rect">
              <a:avLst/>
            </a:prstGeom>
            <a:noFill/>
          </p:spPr>
          <p:txBody>
            <a:bodyPr wrap="squar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3</a:t>
              </a:r>
              <a:endPara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sp>
        <p:nvSpPr>
          <p:cNvPr id="33" name="Rectangle 130">
            <a:extLst>
              <a:ext uri="{FF2B5EF4-FFF2-40B4-BE49-F238E27FC236}">
                <a16:creationId xmlns:a16="http://schemas.microsoft.com/office/drawing/2014/main" id="{F58A89A5-57F5-47A4-9168-729D7F0472A7}"/>
              </a:ext>
            </a:extLst>
          </p:cNvPr>
          <p:cNvSpPr/>
          <p:nvPr/>
        </p:nvSpPr>
        <p:spPr>
          <a:xfrm>
            <a:off x="839416" y="4905163"/>
            <a:ext cx="648072" cy="625459"/>
          </a:xfrm>
          <a:custGeom>
            <a:avLst/>
            <a:gdLst/>
            <a:ahLst/>
            <a:cxnLst/>
            <a:rect l="l" t="t" r="r" b="b"/>
            <a:pathLst>
              <a:path w="371900" h="373588">
                <a:moveTo>
                  <a:pt x="297080" y="129105"/>
                </a:moveTo>
                <a:lnTo>
                  <a:pt x="284273" y="219737"/>
                </a:lnTo>
                <a:lnTo>
                  <a:pt x="305496" y="219737"/>
                </a:lnTo>
                <a:lnTo>
                  <a:pt x="333001" y="129105"/>
                </a:lnTo>
                <a:close/>
                <a:moveTo>
                  <a:pt x="228265" y="129105"/>
                </a:moveTo>
                <a:lnTo>
                  <a:pt x="228265" y="219737"/>
                </a:lnTo>
                <a:lnTo>
                  <a:pt x="250807" y="219737"/>
                </a:lnTo>
                <a:lnTo>
                  <a:pt x="263614" y="129105"/>
                </a:lnTo>
                <a:close/>
                <a:moveTo>
                  <a:pt x="157021" y="129105"/>
                </a:moveTo>
                <a:lnTo>
                  <a:pt x="175826" y="219737"/>
                </a:lnTo>
                <a:lnTo>
                  <a:pt x="195129" y="219737"/>
                </a:lnTo>
                <a:lnTo>
                  <a:pt x="195129" y="129105"/>
                </a:lnTo>
                <a:close/>
                <a:moveTo>
                  <a:pt x="93087" y="129105"/>
                </a:moveTo>
                <a:lnTo>
                  <a:pt x="117372" y="219737"/>
                </a:lnTo>
                <a:lnTo>
                  <a:pt x="141984" y="219737"/>
                </a:lnTo>
                <a:lnTo>
                  <a:pt x="123179" y="129105"/>
                </a:lnTo>
                <a:close/>
                <a:moveTo>
                  <a:pt x="58494" y="0"/>
                </a:moveTo>
                <a:lnTo>
                  <a:pt x="84208" y="95969"/>
                </a:lnTo>
                <a:lnTo>
                  <a:pt x="354346" y="95969"/>
                </a:lnTo>
                <a:lnTo>
                  <a:pt x="354346" y="97437"/>
                </a:lnTo>
                <a:cubicBezTo>
                  <a:pt x="356087" y="96136"/>
                  <a:pt x="357928" y="96353"/>
                  <a:pt x="359747" y="96905"/>
                </a:cubicBezTo>
                <a:lnTo>
                  <a:pt x="360371" y="97095"/>
                </a:lnTo>
                <a:cubicBezTo>
                  <a:pt x="368954" y="99700"/>
                  <a:pt x="373801" y="108770"/>
                  <a:pt x="371196" y="117354"/>
                </a:cubicBezTo>
                <a:lnTo>
                  <a:pt x="333339" y="242097"/>
                </a:lnTo>
                <a:cubicBezTo>
                  <a:pt x="331591" y="247858"/>
                  <a:pt x="326929" y="251935"/>
                  <a:pt x="321206" y="252122"/>
                </a:cubicBezTo>
                <a:lnTo>
                  <a:pt x="321206" y="252873"/>
                </a:lnTo>
                <a:lnTo>
                  <a:pt x="313576" y="252873"/>
                </a:lnTo>
                <a:cubicBezTo>
                  <a:pt x="313378" y="253010"/>
                  <a:pt x="313229" y="252967"/>
                  <a:pt x="313080" y="252922"/>
                </a:cubicBezTo>
                <a:lnTo>
                  <a:pt x="312919" y="252873"/>
                </a:lnTo>
                <a:lnTo>
                  <a:pt x="126251" y="252873"/>
                </a:lnTo>
                <a:lnTo>
                  <a:pt x="133971" y="281687"/>
                </a:lnTo>
                <a:lnTo>
                  <a:pt x="321075" y="281687"/>
                </a:lnTo>
                <a:lnTo>
                  <a:pt x="321075" y="314823"/>
                </a:lnTo>
                <a:lnTo>
                  <a:pt x="318480" y="314823"/>
                </a:lnTo>
                <a:cubicBezTo>
                  <a:pt x="329614" y="318311"/>
                  <a:pt x="336414" y="328969"/>
                  <a:pt x="336414" y="341215"/>
                </a:cubicBezTo>
                <a:cubicBezTo>
                  <a:pt x="336414" y="359094"/>
                  <a:pt x="321920" y="373588"/>
                  <a:pt x="304041" y="373588"/>
                </a:cubicBezTo>
                <a:cubicBezTo>
                  <a:pt x="286162" y="373588"/>
                  <a:pt x="271668" y="359094"/>
                  <a:pt x="271668" y="341215"/>
                </a:cubicBezTo>
                <a:cubicBezTo>
                  <a:pt x="271668" y="328969"/>
                  <a:pt x="278468" y="318311"/>
                  <a:pt x="289602" y="314823"/>
                </a:cubicBezTo>
                <a:lnTo>
                  <a:pt x="142850" y="314823"/>
                </a:lnTo>
                <a:lnTo>
                  <a:pt x="143397" y="316865"/>
                </a:lnTo>
                <a:cubicBezTo>
                  <a:pt x="151629" y="321811"/>
                  <a:pt x="156401" y="330956"/>
                  <a:pt x="156401" y="341215"/>
                </a:cubicBezTo>
                <a:cubicBezTo>
                  <a:pt x="156401" y="359094"/>
                  <a:pt x="141907" y="373588"/>
                  <a:pt x="124028" y="373588"/>
                </a:cubicBezTo>
                <a:cubicBezTo>
                  <a:pt x="106149" y="373588"/>
                  <a:pt x="91655" y="359094"/>
                  <a:pt x="91655" y="341215"/>
                </a:cubicBezTo>
                <a:cubicBezTo>
                  <a:pt x="91655" y="329356"/>
                  <a:pt x="98032" y="318986"/>
                  <a:pt x="108649" y="315212"/>
                </a:cubicBezTo>
                <a:lnTo>
                  <a:pt x="33542" y="34909"/>
                </a:lnTo>
                <a:lnTo>
                  <a:pt x="0" y="34909"/>
                </a:lnTo>
                <a:lnTo>
                  <a:pt x="0" y="1773"/>
                </a:lnTo>
                <a:lnTo>
                  <a:pt x="51879" y="1773"/>
                </a:ln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81603" y="2491798"/>
            <a:ext cx="3163188" cy="16843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Торги </a:t>
            </a:r>
            <a:b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</a:b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молочной </a:t>
            </a:r>
          </a:p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продукцие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917001" y="5316478"/>
            <a:ext cx="7368236" cy="12618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dirty="0">
                <a:solidFill>
                  <a:prstClr val="black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Торги проходят на постоянной </a:t>
            </a:r>
          </a:p>
          <a:p>
            <a:pPr marL="0" marR="0" lvl="0" indent="0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dirty="0">
                <a:solidFill>
                  <a:prstClr val="black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основе </a:t>
            </a:r>
            <a:r>
              <a:rPr lang="ru-RU" sz="4000" b="1" dirty="0">
                <a:solidFill>
                  <a:srgbClr val="649941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3 раза в неделю</a:t>
            </a:r>
            <a:endParaRPr lang="ru-RU" sz="3600" b="1" dirty="0">
              <a:solidFill>
                <a:srgbClr val="649941"/>
              </a:solidFill>
              <a:latin typeface="Arial" panose="020B0604020202020204" pitchFamily="34" charset="0"/>
              <a:ea typeface="Arial Unicode MS"/>
              <a:sym typeface="Roboto" pitchFamily="2" charset="0"/>
            </a:endParaRP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583563BC-E6DC-4341-BC77-9399471C11BD}"/>
              </a:ext>
            </a:extLst>
          </p:cNvPr>
          <p:cNvGrpSpPr/>
          <p:nvPr/>
        </p:nvGrpSpPr>
        <p:grpSpPr>
          <a:xfrm>
            <a:off x="3611724" y="3369904"/>
            <a:ext cx="7325752" cy="1010533"/>
            <a:chOff x="4048003" y="4770244"/>
            <a:chExt cx="8999342" cy="101053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73AA757-A16D-4C7F-A7EA-0CD01747C9DD}"/>
                </a:ext>
              </a:extLst>
            </p:cNvPr>
            <p:cNvSpPr txBox="1"/>
            <p:nvPr/>
          </p:nvSpPr>
          <p:spPr>
            <a:xfrm>
              <a:off x="4726658" y="5056392"/>
              <a:ext cx="83206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  <a:sym typeface="Roboto" pitchFamily="2" charset="0"/>
                </a:rPr>
                <a:t>Сыворотка сухая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DAA59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itchFamily="34" charset="0"/>
                <a:sym typeface="Roboto" pitchFamily="2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D717A3E-1879-43AB-A265-DBA1950D25F8}"/>
                </a:ext>
              </a:extLst>
            </p:cNvPr>
            <p:cNvSpPr txBox="1"/>
            <p:nvPr/>
          </p:nvSpPr>
          <p:spPr>
            <a:xfrm>
              <a:off x="4048003" y="4770244"/>
              <a:ext cx="699465" cy="1010533"/>
            </a:xfrm>
            <a:prstGeom prst="rect">
              <a:avLst/>
            </a:prstGeom>
            <a:noFill/>
          </p:spPr>
          <p:txBody>
            <a:bodyPr wrap="non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5</a:t>
              </a:r>
              <a:endPara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1247F8DD-4974-4206-93E3-3BD82D9C635D}"/>
              </a:ext>
            </a:extLst>
          </p:cNvPr>
          <p:cNvGrpSpPr/>
          <p:nvPr/>
        </p:nvGrpSpPr>
        <p:grpSpPr>
          <a:xfrm>
            <a:off x="3611724" y="4200117"/>
            <a:ext cx="7814183" cy="1010533"/>
            <a:chOff x="4105829" y="4770244"/>
            <a:chExt cx="8190356" cy="101053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8C16A6E-2489-424A-9760-4E98BDA18246}"/>
                </a:ext>
              </a:extLst>
            </p:cNvPr>
            <p:cNvSpPr txBox="1"/>
            <p:nvPr/>
          </p:nvSpPr>
          <p:spPr>
            <a:xfrm>
              <a:off x="4726658" y="5056392"/>
              <a:ext cx="756952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1219137" latinLnBrk="1"/>
              <a:r>
                <a:rPr lang="ru-RU" sz="2800" b="1" dirty="0">
                  <a:solidFill>
                    <a:prstClr val="black"/>
                  </a:solidFill>
                  <a:latin typeface="Arial" panose="020B0604020202020204" pitchFamily="34" charset="0"/>
                  <a:sym typeface="Roboto" pitchFamily="2" charset="0"/>
                </a:rPr>
                <a:t>Казеин технический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DAA59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itchFamily="34" charset="0"/>
                <a:sym typeface="Roboto" pitchFamily="2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BF2A3CD-6EFB-416E-A197-278CDBA2D98F}"/>
                </a:ext>
              </a:extLst>
            </p:cNvPr>
            <p:cNvSpPr txBox="1"/>
            <p:nvPr/>
          </p:nvSpPr>
          <p:spPr>
            <a:xfrm>
              <a:off x="4105829" y="4770244"/>
              <a:ext cx="596798" cy="1010533"/>
            </a:xfrm>
            <a:prstGeom prst="rect">
              <a:avLst/>
            </a:prstGeom>
            <a:noFill/>
          </p:spPr>
          <p:txBody>
            <a:bodyPr wrap="none" tIns="320040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ts val="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4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typeface="Roboto" pitchFamily="2" charset="0"/>
                </a:rPr>
                <a:t>6</a:t>
              </a:r>
              <a:endPara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5FDBA817-CF46-4C18-A8C1-94AA80696EE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035" y="2215903"/>
            <a:ext cx="1815083" cy="172310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02661EBE-5AA1-4EC7-A4B1-893AB41F20B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490" y="44624"/>
            <a:ext cx="2312902" cy="214441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E0B8C1D-CBFE-48E8-91C5-E6621D98A3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6956" y="3506317"/>
            <a:ext cx="2597351" cy="1605307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5B55E474-CED7-43A3-96FC-3FBA6C59C72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910" y="1726214"/>
            <a:ext cx="1333794" cy="116429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1D94D58-42F7-4F8B-827D-E486406A35F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117" y="3058957"/>
            <a:ext cx="1649273" cy="1374394"/>
          </a:xfrm>
          <a:prstGeom prst="rect">
            <a:avLst/>
          </a:prstGeom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82DFFBA3-CCC3-4F32-9E2C-C13C46B79285}"/>
              </a:ext>
            </a:extLst>
          </p:cNvPr>
          <p:cNvCxnSpPr>
            <a:cxnSpLocks/>
          </p:cNvCxnSpPr>
          <p:nvPr/>
        </p:nvCxnSpPr>
        <p:spPr>
          <a:xfrm>
            <a:off x="3812005" y="5307475"/>
            <a:ext cx="0" cy="1261884"/>
          </a:xfrm>
          <a:prstGeom prst="line">
            <a:avLst/>
          </a:prstGeom>
          <a:ln w="79375">
            <a:solidFill>
              <a:srgbClr val="A4D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863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EA571358-B4A4-4E11-968A-5DA472296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944" y="841787"/>
            <a:ext cx="1948657" cy="2123332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8179D889-4A83-4EC6-B810-00624F259B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8162" y="1982608"/>
            <a:ext cx="1590486" cy="1590486"/>
          </a:xfrm>
          <a:prstGeom prst="rect">
            <a:avLst/>
          </a:prstGeom>
        </p:spPr>
      </p:pic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00000000-0008-0000-0000-000004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1812369"/>
              </p:ext>
            </p:extLst>
          </p:nvPr>
        </p:nvGraphicFramePr>
        <p:xfrm>
          <a:off x="4798494" y="728700"/>
          <a:ext cx="7068108" cy="6093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FC3392E-C700-4AC4-BC0B-BC7CADBCD756}"/>
              </a:ext>
            </a:extLst>
          </p:cNvPr>
          <p:cNvSpPr/>
          <p:nvPr/>
        </p:nvSpPr>
        <p:spPr>
          <a:xfrm>
            <a:off x="6345875" y="5129676"/>
            <a:ext cx="739390" cy="3660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6C612B8-77C5-4DA7-8A33-405973EEDD48}"/>
              </a:ext>
            </a:extLst>
          </p:cNvPr>
          <p:cNvSpPr/>
          <p:nvPr/>
        </p:nvSpPr>
        <p:spPr>
          <a:xfrm>
            <a:off x="7836090" y="5123016"/>
            <a:ext cx="739390" cy="4680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7">
            <a:extLst>
              <a:ext uri="{FF2B5EF4-FFF2-40B4-BE49-F238E27FC236}">
                <a16:creationId xmlns:a16="http://schemas.microsoft.com/office/drawing/2014/main" id="{F46C3BFB-C8AE-4A49-BFA3-5B3A989ABD1B}"/>
              </a:ext>
            </a:extLst>
          </p:cNvPr>
          <p:cNvSpPr txBox="1">
            <a:spLocks/>
          </p:cNvSpPr>
          <p:nvPr/>
        </p:nvSpPr>
        <p:spPr>
          <a:xfrm>
            <a:off x="3013345" y="1642894"/>
            <a:ext cx="9319327" cy="5143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+mj-cs"/>
                <a:sym typeface="Roboto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Arial" panose="020B0604020202020204" pitchFamily="34" charset="0"/>
                <a:sym typeface="Roboto" pitchFamily="2" charset="0"/>
              </a:rPr>
              <a:t> </a:t>
            </a:r>
          </a:p>
        </p:txBody>
      </p:sp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8CA610A3-98D2-4D47-A002-1D49B0EADED3}"/>
              </a:ext>
            </a:extLst>
          </p:cNvPr>
          <p:cNvSpPr txBox="1">
            <a:spLocks/>
          </p:cNvSpPr>
          <p:nvPr/>
        </p:nvSpPr>
        <p:spPr>
          <a:xfrm>
            <a:off x="2885513" y="771552"/>
            <a:ext cx="9319327" cy="5143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+mj-cs"/>
                <a:sym typeface="Roboto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" pitchFamily="2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043FA16-EFCA-4A75-B55E-EC563514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931" y="1796036"/>
            <a:ext cx="4732945" cy="1325563"/>
          </a:xfrm>
        </p:spPr>
        <p:txBody>
          <a:bodyPr>
            <a:normAutofit/>
          </a:bodyPr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  <a:sym typeface="Roboto" pitchFamily="2" charset="0"/>
              </a:rPr>
              <a:t>Экспорт молочной</a:t>
            </a:r>
            <a:br>
              <a:rPr lang="ru-RU" sz="2800" dirty="0">
                <a:latin typeface="Arial" panose="020B0604020202020204" pitchFamily="34" charset="0"/>
                <a:cs typeface="Arial" panose="020B0604020202020204" pitchFamily="34" charset="0"/>
                <a:sym typeface="Roboto" pitchFamily="2" charset="0"/>
              </a:rPr>
            </a:b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  <a:sym typeface="Roboto" pitchFamily="2" charset="0"/>
              </a:rPr>
              <a:t>биржевой продукции</a:t>
            </a:r>
            <a:endParaRPr lang="ru-RU" sz="2800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39FDAEF-A5FB-4306-AFD3-7F9340EDCE5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7" y="4680457"/>
            <a:ext cx="854838" cy="854838"/>
          </a:xfrm>
          <a:prstGeom prst="rect">
            <a:avLst/>
          </a:prstGeom>
          <a:noFill/>
        </p:spPr>
      </p:pic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DBA689C0-4A64-4656-B9D7-8A2F1BDDC527}"/>
              </a:ext>
            </a:extLst>
          </p:cNvPr>
          <p:cNvSpPr txBox="1">
            <a:spLocks/>
          </p:cNvSpPr>
          <p:nvPr/>
        </p:nvSpPr>
        <p:spPr>
          <a:xfrm>
            <a:off x="168462" y="2552120"/>
            <a:ext cx="3744416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(по данным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Белстат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)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357130-6F77-460D-9CC7-04A48C9648B3}"/>
              </a:ext>
            </a:extLst>
          </p:cNvPr>
          <p:cNvSpPr txBox="1"/>
          <p:nvPr/>
        </p:nvSpPr>
        <p:spPr>
          <a:xfrm>
            <a:off x="333209" y="3012950"/>
            <a:ext cx="1297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021 г.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30A7C500-7EEE-42A0-8CCA-F0B51B1FA870}"/>
              </a:ext>
            </a:extLst>
          </p:cNvPr>
          <p:cNvSpPr txBox="1">
            <a:spLocks/>
          </p:cNvSpPr>
          <p:nvPr/>
        </p:nvSpPr>
        <p:spPr>
          <a:xfrm>
            <a:off x="7407392" y="5129676"/>
            <a:ext cx="1290812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 </a:t>
            </a: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СОМ</a:t>
            </a:r>
            <a:r>
              <a: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 </a:t>
            </a:r>
            <a:endParaRPr kumimoji="0" lang="ru-RU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3AB5A332-D8B0-4DAC-B6F4-3CDEA3874893}"/>
              </a:ext>
            </a:extLst>
          </p:cNvPr>
          <p:cNvSpPr txBox="1">
            <a:spLocks/>
          </p:cNvSpPr>
          <p:nvPr/>
        </p:nvSpPr>
        <p:spPr>
          <a:xfrm>
            <a:off x="6070164" y="5087367"/>
            <a:ext cx="1290812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 </a:t>
            </a: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СЦМ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 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EF67544-096F-4A2B-8FD6-B058A0492B29}"/>
              </a:ext>
            </a:extLst>
          </p:cNvPr>
          <p:cNvSpPr txBox="1">
            <a:spLocks/>
          </p:cNvSpPr>
          <p:nvPr/>
        </p:nvSpPr>
        <p:spPr>
          <a:xfrm>
            <a:off x="10462530" y="4844629"/>
            <a:ext cx="1476171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Прочее</a:t>
            </a:r>
            <a:endParaRPr kumimoji="0" lang="ru-RU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EDF2AA0-DE26-4B99-911D-534F4F31C594}"/>
              </a:ext>
            </a:extLst>
          </p:cNvPr>
          <p:cNvSpPr txBox="1">
            <a:spLocks/>
          </p:cNvSpPr>
          <p:nvPr/>
        </p:nvSpPr>
        <p:spPr>
          <a:xfrm>
            <a:off x="3497549" y="3298067"/>
            <a:ext cx="2249135" cy="8236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Молочная</a:t>
            </a:r>
          </a:p>
          <a:p>
            <a:pPr marL="0" marR="0" lvl="0" indent="0" algn="r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сыворотка</a:t>
            </a:r>
            <a:endParaRPr kumimoji="0" lang="ru-RU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F0055CEA-BDC1-4FCD-BC20-61B209A587F9}"/>
              </a:ext>
            </a:extLst>
          </p:cNvPr>
          <p:cNvSpPr txBox="1">
            <a:spLocks/>
          </p:cNvSpPr>
          <p:nvPr/>
        </p:nvSpPr>
        <p:spPr>
          <a:xfrm>
            <a:off x="6005012" y="1407885"/>
            <a:ext cx="2321168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Масло </a:t>
            </a:r>
          </a:p>
          <a:p>
            <a:pPr marL="0" marR="0" lvl="0" indent="0" algn="l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сливочное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8352EA1-2437-4C24-ABD0-5C20754E5D57}"/>
              </a:ext>
            </a:extLst>
          </p:cNvPr>
          <p:cNvSpPr txBox="1">
            <a:spLocks/>
          </p:cNvSpPr>
          <p:nvPr/>
        </p:nvSpPr>
        <p:spPr>
          <a:xfrm>
            <a:off x="9875232" y="1031367"/>
            <a:ext cx="1767137" cy="4680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Сыры </a:t>
            </a:r>
          </a:p>
          <a:p>
            <a:pPr marL="0" marR="0" lvl="0" indent="0" algn="l" defTabSz="829544" rtl="0" eaLnBrk="1" fontAlgn="auto" latinLnBrk="1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и творог 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76BF31-D8E5-40DC-AFDB-3ED1FFE7AFFE}"/>
              </a:ext>
            </a:extLst>
          </p:cNvPr>
          <p:cNvSpPr txBox="1"/>
          <p:nvPr/>
        </p:nvSpPr>
        <p:spPr>
          <a:xfrm>
            <a:off x="304426" y="3769876"/>
            <a:ext cx="2070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тыс. тонн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0B1122-8FB1-4CAD-9138-5FBD55E317FD}"/>
              </a:ext>
            </a:extLst>
          </p:cNvPr>
          <p:cNvSpPr txBox="1"/>
          <p:nvPr/>
        </p:nvSpPr>
        <p:spPr>
          <a:xfrm>
            <a:off x="7836090" y="3874077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6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9354A2-000D-4276-999D-720D294BC9F0}"/>
              </a:ext>
            </a:extLst>
          </p:cNvPr>
          <p:cNvSpPr txBox="1"/>
          <p:nvPr/>
        </p:nvSpPr>
        <p:spPr>
          <a:xfrm>
            <a:off x="6849205" y="3852280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B43A316-7358-4943-81D7-6A92B4707699}"/>
              </a:ext>
            </a:extLst>
          </p:cNvPr>
          <p:cNvSpPr txBox="1"/>
          <p:nvPr/>
        </p:nvSpPr>
        <p:spPr>
          <a:xfrm>
            <a:off x="6455808" y="3315010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black"/>
                </a:solidFill>
                <a:latin typeface="Arial"/>
                <a:ea typeface="Arial Unicode MS"/>
              </a:rPr>
              <a:t>18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888C227-44B1-4DCF-8407-D6F6650057BD}"/>
              </a:ext>
            </a:extLst>
          </p:cNvPr>
          <p:cNvSpPr txBox="1"/>
          <p:nvPr/>
        </p:nvSpPr>
        <p:spPr>
          <a:xfrm>
            <a:off x="6802252" y="2690362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black"/>
                </a:solidFill>
                <a:latin typeface="Arial"/>
                <a:ea typeface="Arial Unicode MS"/>
              </a:rPr>
              <a:t>12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3EFC907-000B-4474-956D-6C7266771C28}"/>
              </a:ext>
            </a:extLst>
          </p:cNvPr>
          <p:cNvSpPr txBox="1"/>
          <p:nvPr/>
        </p:nvSpPr>
        <p:spPr>
          <a:xfrm>
            <a:off x="8403613" y="2723058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black"/>
                </a:solidFill>
                <a:latin typeface="Arial"/>
                <a:ea typeface="Arial Unicode MS"/>
              </a:rPr>
              <a:t>40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1A4E552-D4E4-4EE0-AD76-D7E7339A588B}"/>
              </a:ext>
            </a:extLst>
          </p:cNvPr>
          <p:cNvSpPr txBox="1"/>
          <p:nvPr/>
        </p:nvSpPr>
        <p:spPr>
          <a:xfrm>
            <a:off x="9072462" y="3694097"/>
            <a:ext cx="926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black"/>
                </a:solidFill>
                <a:latin typeface="Arial"/>
                <a:ea typeface="Arial Unicode MS"/>
              </a:rPr>
              <a:t>9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%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DEF5032-36BA-41AA-919F-0E991F441C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901" y="341125"/>
            <a:ext cx="1429491" cy="1001324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0B7F611F-5A8B-4BE4-A7D1-7AAC730B5D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4475" y="167032"/>
            <a:ext cx="1429491" cy="816649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EE6CE1CE-64FF-401A-B91C-62BEC298793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989" y="4162706"/>
            <a:ext cx="2624819" cy="2563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97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3822032" y="187790"/>
            <a:ext cx="7668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Bold" charset="0"/>
                <a:sym typeface="Roboto" pitchFamily="2" charset="0"/>
              </a:rPr>
              <a:t>Что БУТБ предлагает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Bold" charset="0"/>
                <a:sym typeface="Roboto" pitchFamily="2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Montserrat Bold" charset="0"/>
                <a:sym typeface="Roboto" pitchFamily="2" charset="0"/>
              </a:rPr>
              <a:t>российским компаниям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sym typeface="Roboto" pitchFamily="2" charset="0"/>
            </a:endParaRPr>
          </a:p>
        </p:txBody>
      </p:sp>
      <p:sp>
        <p:nvSpPr>
          <p:cNvPr id="55" name="Text Box 11">
            <a:extLst>
              <a:ext uri="{FF2B5EF4-FFF2-40B4-BE49-F238E27FC236}">
                <a16:creationId xmlns:a16="http://schemas.microsoft.com/office/drawing/2014/main" id="{4750755D-F078-43D2-B08B-A03050BEB2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4451" y="1580023"/>
            <a:ext cx="8892988" cy="3354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2200" dirty="0">
                <a:latin typeface="+mj-lt"/>
                <a:sym typeface="Roboto" pitchFamily="2" charset="0"/>
              </a:rPr>
              <a:t>Онлайн-участие в торгах</a:t>
            </a:r>
          </a:p>
        </p:txBody>
      </p:sp>
      <p:sp>
        <p:nvSpPr>
          <p:cNvPr id="56" name="Text Box 11">
            <a:extLst>
              <a:ext uri="{FF2B5EF4-FFF2-40B4-BE49-F238E27FC236}">
                <a16:creationId xmlns:a16="http://schemas.microsoft.com/office/drawing/2014/main" id="{E4E72024-4D3D-4220-886E-F1B4D2DFC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4451" y="2468427"/>
            <a:ext cx="8691501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200" dirty="0">
                <a:latin typeface="+mj-lt"/>
                <a:sym typeface="Roboto" pitchFamily="2" charset="0"/>
              </a:rPr>
              <a:t>Упрощенная и бесплатная аккредитация</a:t>
            </a:r>
            <a:endParaRPr lang="en-US" sz="2200" dirty="0">
              <a:latin typeface="+mj-lt"/>
              <a:sym typeface="Roboto" pitchFamily="2" charset="0"/>
            </a:endParaRPr>
          </a:p>
        </p:txBody>
      </p:sp>
      <p:sp>
        <p:nvSpPr>
          <p:cNvPr id="59" name="Text Box 11">
            <a:extLst>
              <a:ext uri="{FF2B5EF4-FFF2-40B4-BE49-F238E27FC236}">
                <a16:creationId xmlns:a16="http://schemas.microsoft.com/office/drawing/2014/main" id="{25BC2923-CF1E-4887-8DFA-6CA68F8CD0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2555" y="4113076"/>
            <a:ext cx="9268733" cy="7017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2200" dirty="0">
                <a:latin typeface="+mj-lt"/>
              </a:rPr>
              <a:t>    </a:t>
            </a:r>
            <a:r>
              <a:rPr lang="ru-RU" sz="2200" dirty="0">
                <a:latin typeface="+mj-lt"/>
              </a:rPr>
              <a:t>Расширение рынков сбыта и продвижение продукции </a:t>
            </a:r>
            <a:br>
              <a:rPr lang="ru-RU" sz="2200" dirty="0">
                <a:latin typeface="+mj-lt"/>
              </a:rPr>
            </a:br>
            <a:r>
              <a:rPr lang="ru-RU" sz="2200" dirty="0">
                <a:latin typeface="+mj-lt"/>
              </a:rPr>
              <a:t>    за счет разветвленной сети брокеров</a:t>
            </a:r>
          </a:p>
        </p:txBody>
      </p:sp>
      <p:sp>
        <p:nvSpPr>
          <p:cNvPr id="61" name="Text Box 11">
            <a:extLst>
              <a:ext uri="{FF2B5EF4-FFF2-40B4-BE49-F238E27FC236}">
                <a16:creationId xmlns:a16="http://schemas.microsoft.com/office/drawing/2014/main" id="{E3D5E350-3322-4188-B868-B078A192EB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4050" y="3334232"/>
            <a:ext cx="9268734" cy="7694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200" dirty="0">
                <a:latin typeface="+mj-lt"/>
                <a:sym typeface="Roboto" pitchFamily="2" charset="0"/>
              </a:rPr>
              <a:t>Широкая клиентская база покупателей </a:t>
            </a:r>
            <a:br>
              <a:rPr lang="ru-RU" sz="2200" dirty="0">
                <a:latin typeface="+mj-lt"/>
                <a:sym typeface="Roboto" pitchFamily="2" charset="0"/>
              </a:rPr>
            </a:br>
            <a:endParaRPr lang="ru-RU" sz="2200" dirty="0">
              <a:latin typeface="+mj-lt"/>
              <a:sym typeface="Roboto" pitchFamily="2" charset="0"/>
            </a:endParaRPr>
          </a:p>
        </p:txBody>
      </p:sp>
      <p:sp>
        <p:nvSpPr>
          <p:cNvPr id="12" name="Text Box 11">
            <a:extLst>
              <a:ext uri="{FF2B5EF4-FFF2-40B4-BE49-F238E27FC236}">
                <a16:creationId xmlns:a16="http://schemas.microsoft.com/office/drawing/2014/main" id="{0E1C72BB-C956-4BA5-AFA3-BCE7222021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2547" y="5206409"/>
            <a:ext cx="674125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200" dirty="0">
                <a:latin typeface="+mj-lt"/>
              </a:rPr>
              <a:t>Возможность расчетов через счета биржи</a:t>
            </a:r>
          </a:p>
        </p:txBody>
      </p:sp>
      <p:sp>
        <p:nvSpPr>
          <p:cNvPr id="13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2547" y="6119728"/>
            <a:ext cx="7245314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200" dirty="0">
                <a:latin typeface="+mj-lt"/>
              </a:rPr>
              <a:t>Безопасность и контроль исполнения контрактов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8B99A46-F25D-4B09-84D1-790C1B83B72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11" b="18611"/>
          <a:stretch>
            <a:fillRect/>
          </a:stretch>
        </p:blipFill>
        <p:spPr>
          <a:xfrm>
            <a:off x="925513" y="4095750"/>
            <a:ext cx="1727200" cy="760413"/>
          </a:xfr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A68D75AC-4174-4167-92DC-F7423787CE32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5" b="8745"/>
          <a:stretch>
            <a:fillRect/>
          </a:stretch>
        </p:blipFill>
        <p:spPr/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9791FD8-FCD6-4B31-8CF5-10274461D6D0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37" b="16337"/>
          <a:stretch>
            <a:fillRect/>
          </a:stretch>
        </p:blipFill>
        <p:spPr/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F972914-F77A-4BFB-A2EF-3639E38CEFDE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49" b="24149"/>
          <a:stretch>
            <a:fillRect/>
          </a:stretch>
        </p:blipFill>
        <p:spPr/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71BC1A-0615-4A88-9B94-8AA55AC897D8}"/>
              </a:ext>
            </a:extLst>
          </p:cNvPr>
          <p:cNvPicPr>
            <a:picLocks noGrp="1" noChangeAspect="1"/>
          </p:cNvPicPr>
          <p:nvPr>
            <p:ph type="pic" idx="16"/>
          </p:nvPr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82" b="16882"/>
          <a:stretch>
            <a:fillRect/>
          </a:stretch>
        </p:blipFill>
        <p:spPr/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AC08C08-B004-4846-B04C-4BC1F1145B27}"/>
              </a:ext>
            </a:extLst>
          </p:cNvPr>
          <p:cNvSpPr txBox="1"/>
          <p:nvPr/>
        </p:nvSpPr>
        <p:spPr>
          <a:xfrm>
            <a:off x="3443028" y="359949"/>
            <a:ext cx="8748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atin typeface="+mj-lt"/>
                <a:ea typeface="+mj-ea"/>
                <a:cs typeface="+mj-cs"/>
                <a:sym typeface="Roboto" pitchFamily="2" charset="0"/>
              </a:rPr>
              <a:t>Преимущества биржевой площадки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1FA2C0EE-08AE-4FD4-84B0-54124D3028B0}"/>
              </a:ext>
            </a:extLst>
          </p:cNvPr>
          <p:cNvPicPr>
            <a:picLocks noGrp="1" noChangeAspect="1"/>
          </p:cNvPicPr>
          <p:nvPr>
            <p:ph type="pic" idx="12"/>
          </p:nvPr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" b="80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2697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4835860" y="416160"/>
            <a:ext cx="4384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  <a:t>Минимум риска</a:t>
            </a:r>
          </a:p>
        </p:txBody>
      </p:sp>
      <p:sp>
        <p:nvSpPr>
          <p:cNvPr id="15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4728" y="1723857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Контроль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исполнения контрактов</a:t>
            </a:r>
          </a:p>
        </p:txBody>
      </p:sp>
      <p:sp>
        <p:nvSpPr>
          <p:cNvPr id="17" name="Rectangle 1"/>
          <p:cNvSpPr/>
          <p:nvPr/>
        </p:nvSpPr>
        <p:spPr>
          <a:xfrm>
            <a:off x="0" y="1556792"/>
            <a:ext cx="4236778" cy="5175306"/>
          </a:xfrm>
          <a:custGeom>
            <a:avLst/>
            <a:gdLst>
              <a:gd name="connsiteX0" fmla="*/ 0 w 2339752"/>
              <a:gd name="connsiteY0" fmla="*/ 0 h 5143500"/>
              <a:gd name="connsiteX1" fmla="*/ 2339752 w 2339752"/>
              <a:gd name="connsiteY1" fmla="*/ 0 h 5143500"/>
              <a:gd name="connsiteX2" fmla="*/ 2339752 w 2339752"/>
              <a:gd name="connsiteY2" fmla="*/ 5143500 h 5143500"/>
              <a:gd name="connsiteX3" fmla="*/ 0 w 2339752"/>
              <a:gd name="connsiteY3" fmla="*/ 5143500 h 5143500"/>
              <a:gd name="connsiteX4" fmla="*/ 0 w 2339752"/>
              <a:gd name="connsiteY4" fmla="*/ 0 h 5143500"/>
              <a:gd name="connsiteX0" fmla="*/ 0 w 4852364"/>
              <a:gd name="connsiteY0" fmla="*/ 0 h 5151451"/>
              <a:gd name="connsiteX1" fmla="*/ 2339752 w 4852364"/>
              <a:gd name="connsiteY1" fmla="*/ 0 h 5151451"/>
              <a:gd name="connsiteX2" fmla="*/ 4852364 w 4852364"/>
              <a:gd name="connsiteY2" fmla="*/ 5151451 h 5151451"/>
              <a:gd name="connsiteX3" fmla="*/ 0 w 4852364"/>
              <a:gd name="connsiteY3" fmla="*/ 5143500 h 5151451"/>
              <a:gd name="connsiteX4" fmla="*/ 0 w 4852364"/>
              <a:gd name="connsiteY4" fmla="*/ 0 h 5151451"/>
              <a:gd name="connsiteX0" fmla="*/ 0 w 4852364"/>
              <a:gd name="connsiteY0" fmla="*/ 0 h 5159402"/>
              <a:gd name="connsiteX1" fmla="*/ 2339752 w 4852364"/>
              <a:gd name="connsiteY1" fmla="*/ 0 h 5159402"/>
              <a:gd name="connsiteX2" fmla="*/ 4852364 w 4852364"/>
              <a:gd name="connsiteY2" fmla="*/ 5151451 h 5159402"/>
              <a:gd name="connsiteX3" fmla="*/ 15903 w 4852364"/>
              <a:gd name="connsiteY3" fmla="*/ 5159402 h 5159402"/>
              <a:gd name="connsiteX4" fmla="*/ 0 w 4852364"/>
              <a:gd name="connsiteY4" fmla="*/ 0 h 5159402"/>
              <a:gd name="connsiteX0" fmla="*/ 15902 w 4868266"/>
              <a:gd name="connsiteY0" fmla="*/ 0 h 5159402"/>
              <a:gd name="connsiteX1" fmla="*/ 2355654 w 4868266"/>
              <a:gd name="connsiteY1" fmla="*/ 0 h 5159402"/>
              <a:gd name="connsiteX2" fmla="*/ 4868266 w 4868266"/>
              <a:gd name="connsiteY2" fmla="*/ 5151451 h 5159402"/>
              <a:gd name="connsiteX3" fmla="*/ 0 w 4868266"/>
              <a:gd name="connsiteY3" fmla="*/ 5159402 h 5159402"/>
              <a:gd name="connsiteX4" fmla="*/ 15902 w 4868266"/>
              <a:gd name="connsiteY4" fmla="*/ 0 h 5159402"/>
              <a:gd name="connsiteX0" fmla="*/ 963 w 4877181"/>
              <a:gd name="connsiteY0" fmla="*/ 0 h 5159402"/>
              <a:gd name="connsiteX1" fmla="*/ 2364569 w 4877181"/>
              <a:gd name="connsiteY1" fmla="*/ 0 h 5159402"/>
              <a:gd name="connsiteX2" fmla="*/ 4877181 w 4877181"/>
              <a:gd name="connsiteY2" fmla="*/ 5151451 h 5159402"/>
              <a:gd name="connsiteX3" fmla="*/ 8915 w 4877181"/>
              <a:gd name="connsiteY3" fmla="*/ 5159402 h 5159402"/>
              <a:gd name="connsiteX4" fmla="*/ 963 w 4877181"/>
              <a:gd name="connsiteY4" fmla="*/ 0 h 5159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7181" h="5159402">
                <a:moveTo>
                  <a:pt x="963" y="0"/>
                </a:moveTo>
                <a:lnTo>
                  <a:pt x="2364569" y="0"/>
                </a:lnTo>
                <a:lnTo>
                  <a:pt x="4877181" y="5151451"/>
                </a:lnTo>
                <a:lnTo>
                  <a:pt x="8915" y="5159402"/>
                </a:lnTo>
                <a:cubicBezTo>
                  <a:pt x="14216" y="3439601"/>
                  <a:pt x="-4338" y="1719801"/>
                  <a:pt x="963" y="0"/>
                </a:cubicBezTo>
                <a:close/>
              </a:path>
            </a:pathLst>
          </a:custGeom>
          <a:gradFill>
            <a:gsLst>
              <a:gs pos="0">
                <a:srgbClr val="273B19"/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rgbClr val="273B19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8" name="Chart 25"/>
          <p:cNvGraphicFramePr/>
          <p:nvPr/>
        </p:nvGraphicFramePr>
        <p:xfrm>
          <a:off x="191344" y="2744924"/>
          <a:ext cx="2376264" cy="2029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5380" y="4977172"/>
            <a:ext cx="2371582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altLang="ko-KR" b="1" dirty="0">
                <a:solidFill>
                  <a:schemeClr val="bg1"/>
                </a:solidFill>
                <a:cs typeface="Arial" pitchFamily="34" charset="0"/>
              </a:rPr>
              <a:t>Проблемных сделок</a:t>
            </a:r>
            <a:endParaRPr lang="en-US" altLang="ko-KR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3289895" y="2758637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1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5262" y="3945619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Собственная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Арбитражная комиссия</a:t>
            </a:r>
          </a:p>
        </p:txBody>
      </p:sp>
      <p:sp>
        <p:nvSpPr>
          <p:cNvPr id="22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981" y="2789215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Принцип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«поставка против платежа»</a:t>
            </a:r>
          </a:p>
        </p:txBody>
      </p:sp>
      <p:sp>
        <p:nvSpPr>
          <p:cNvPr id="23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3734728" y="3911329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4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2845062" y="1709889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79876" y="5060807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Консультации и техподдержка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24/7</a:t>
            </a:r>
          </a:p>
        </p:txBody>
      </p:sp>
      <p:sp>
        <p:nvSpPr>
          <p:cNvPr id="26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4179560" y="5019591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63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492392" y="432470"/>
            <a:ext cx="42844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для покупателя и продавца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rPr>
            </a:b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rPr>
              <a:t>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1% – 0,2%</a:t>
            </a:r>
            <a:b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rPr>
              <a:t>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от суммы сделок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C82CDF-26EB-4EF1-A190-7CF23321908B}"/>
              </a:ext>
            </a:extLst>
          </p:cNvPr>
          <p:cNvSpPr txBox="1"/>
          <p:nvPr/>
        </p:nvSpPr>
        <p:spPr>
          <a:xfrm>
            <a:off x="394115" y="1948445"/>
            <a:ext cx="3996444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екци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Roboto" pitchFamily="2" charset="0"/>
              </a:rPr>
              <a:t>сельхозпродук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Arial Unicode MS"/>
                <a:cs typeface="Arial" pitchFamily="34" charset="0"/>
              </a:rPr>
              <a:t>Затраты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Arial Unicode MS"/>
              <a:cs typeface="Arial" pitchFamily="34" charset="0"/>
            </a:endParaRPr>
          </a:p>
        </p:txBody>
      </p:sp>
      <p:sp>
        <p:nvSpPr>
          <p:cNvPr id="13" name="Pentagon 4">
            <a:extLst>
              <a:ext uri="{FF2B5EF4-FFF2-40B4-BE49-F238E27FC236}">
                <a16:creationId xmlns:a16="http://schemas.microsoft.com/office/drawing/2014/main" id="{77E1BD8A-4680-43D7-AE38-F6986357DF6F}"/>
              </a:ext>
            </a:extLst>
          </p:cNvPr>
          <p:cNvSpPr/>
          <p:nvPr/>
        </p:nvSpPr>
        <p:spPr>
          <a:xfrm>
            <a:off x="5387039" y="2675928"/>
            <a:ext cx="3888432" cy="733776"/>
          </a:xfrm>
          <a:prstGeom prst="homePlate">
            <a:avLst/>
          </a:prstGeom>
          <a:solidFill>
            <a:srgbClr val="537E36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1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4" name="Pentagon 5">
            <a:extLst>
              <a:ext uri="{FF2B5EF4-FFF2-40B4-BE49-F238E27FC236}">
                <a16:creationId xmlns:a16="http://schemas.microsoft.com/office/drawing/2014/main" id="{247D04F6-86B2-41D0-A48C-88987D7E15CE}"/>
              </a:ext>
            </a:extLst>
          </p:cNvPr>
          <p:cNvSpPr/>
          <p:nvPr/>
        </p:nvSpPr>
        <p:spPr>
          <a:xfrm>
            <a:off x="5389191" y="3402458"/>
            <a:ext cx="6323433" cy="733776"/>
          </a:xfrm>
          <a:prstGeom prst="homePlate">
            <a:avLst/>
          </a:prstGeom>
          <a:solidFill>
            <a:srgbClr val="D6EAA8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1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5" name="Pentagon 6">
            <a:extLst>
              <a:ext uri="{FF2B5EF4-FFF2-40B4-BE49-F238E27FC236}">
                <a16:creationId xmlns:a16="http://schemas.microsoft.com/office/drawing/2014/main" id="{B3509039-5C55-4EB5-A9EC-89D3DE4D2931}"/>
              </a:ext>
            </a:extLst>
          </p:cNvPr>
          <p:cNvSpPr/>
          <p:nvPr/>
        </p:nvSpPr>
        <p:spPr>
          <a:xfrm>
            <a:off x="5387039" y="4135384"/>
            <a:ext cx="3227090" cy="733776"/>
          </a:xfrm>
          <a:prstGeom prst="homePlate">
            <a:avLst/>
          </a:prstGeom>
          <a:solidFill>
            <a:srgbClr val="E6F1D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1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6" name="Заголовок 8">
            <a:extLst>
              <a:ext uri="{FF2B5EF4-FFF2-40B4-BE49-F238E27FC236}">
                <a16:creationId xmlns:a16="http://schemas.microsoft.com/office/drawing/2014/main" id="{A67F561B-AA87-4080-8608-F062A5EEF2AA}"/>
              </a:ext>
            </a:extLst>
          </p:cNvPr>
          <p:cNvSpPr txBox="1">
            <a:spLocks/>
          </p:cNvSpPr>
          <p:nvPr/>
        </p:nvSpPr>
        <p:spPr>
          <a:xfrm>
            <a:off x="5481782" y="2791222"/>
            <a:ext cx="2952328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Аккредитация</a:t>
            </a:r>
          </a:p>
        </p:txBody>
      </p:sp>
      <p:sp>
        <p:nvSpPr>
          <p:cNvPr id="17" name="Заголовок 8">
            <a:extLst>
              <a:ext uri="{FF2B5EF4-FFF2-40B4-BE49-F238E27FC236}">
                <a16:creationId xmlns:a16="http://schemas.microsoft.com/office/drawing/2014/main" id="{C1A9A24D-6549-4586-93DC-DB4F2ABF4C0F}"/>
              </a:ext>
            </a:extLst>
          </p:cNvPr>
          <p:cNvSpPr txBox="1">
            <a:spLocks/>
          </p:cNvSpPr>
          <p:nvPr/>
        </p:nvSpPr>
        <p:spPr>
          <a:xfrm>
            <a:off x="5483934" y="3511972"/>
            <a:ext cx="5544616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Программное обеспечение</a:t>
            </a:r>
          </a:p>
        </p:txBody>
      </p:sp>
      <p:sp>
        <p:nvSpPr>
          <p:cNvPr id="18" name="Заголовок 8">
            <a:extLst>
              <a:ext uri="{FF2B5EF4-FFF2-40B4-BE49-F238E27FC236}">
                <a16:creationId xmlns:a16="http://schemas.microsoft.com/office/drawing/2014/main" id="{1700663A-55C0-483F-ACB9-632063F961EE}"/>
              </a:ext>
            </a:extLst>
          </p:cNvPr>
          <p:cNvSpPr txBox="1">
            <a:spLocks/>
          </p:cNvSpPr>
          <p:nvPr/>
        </p:nvSpPr>
        <p:spPr>
          <a:xfrm>
            <a:off x="5481782" y="4244898"/>
            <a:ext cx="2304256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Обучение</a:t>
            </a:r>
          </a:p>
        </p:txBody>
      </p:sp>
      <p:grpSp>
        <p:nvGrpSpPr>
          <p:cNvPr id="21" name="Google Shape;13962;p77">
            <a:extLst>
              <a:ext uri="{FF2B5EF4-FFF2-40B4-BE49-F238E27FC236}">
                <a16:creationId xmlns:a16="http://schemas.microsoft.com/office/drawing/2014/main" id="{01F1EE72-D129-4012-92E0-8A6D77D87183}"/>
              </a:ext>
            </a:extLst>
          </p:cNvPr>
          <p:cNvGrpSpPr/>
          <p:nvPr/>
        </p:nvGrpSpPr>
        <p:grpSpPr>
          <a:xfrm>
            <a:off x="8293518" y="2801917"/>
            <a:ext cx="510473" cy="514705"/>
            <a:chOff x="-61782550" y="2664925"/>
            <a:chExt cx="316650" cy="319275"/>
          </a:xfrm>
          <a:solidFill>
            <a:schemeClr val="bg1"/>
          </a:solidFill>
        </p:grpSpPr>
        <p:sp>
          <p:nvSpPr>
            <p:cNvPr id="22" name="Google Shape;13963;p77">
              <a:extLst>
                <a:ext uri="{FF2B5EF4-FFF2-40B4-BE49-F238E27FC236}">
                  <a16:creationId xmlns:a16="http://schemas.microsoft.com/office/drawing/2014/main" id="{C8771E86-E9E5-4572-9B72-D12D921176B0}"/>
                </a:ext>
              </a:extLst>
            </p:cNvPr>
            <p:cNvSpPr/>
            <p:nvPr/>
          </p:nvSpPr>
          <p:spPr>
            <a:xfrm>
              <a:off x="-61782550" y="2664925"/>
              <a:ext cx="316650" cy="319275"/>
            </a:xfrm>
            <a:custGeom>
              <a:avLst/>
              <a:gdLst/>
              <a:ahLst/>
              <a:cxnLst/>
              <a:rect l="l" t="t" r="r" b="b"/>
              <a:pathLst>
                <a:path w="12666" h="12771" extrusionOk="0">
                  <a:moveTo>
                    <a:pt x="10208" y="851"/>
                  </a:moveTo>
                  <a:cubicBezTo>
                    <a:pt x="10366" y="1670"/>
                    <a:pt x="10996" y="2300"/>
                    <a:pt x="11815" y="2457"/>
                  </a:cubicBezTo>
                  <a:lnTo>
                    <a:pt x="11815" y="6679"/>
                  </a:lnTo>
                  <a:lnTo>
                    <a:pt x="11783" y="6679"/>
                  </a:lnTo>
                  <a:cubicBezTo>
                    <a:pt x="10964" y="6837"/>
                    <a:pt x="10334" y="7467"/>
                    <a:pt x="10177" y="8286"/>
                  </a:cubicBezTo>
                  <a:lnTo>
                    <a:pt x="9011" y="8286"/>
                  </a:lnTo>
                  <a:cubicBezTo>
                    <a:pt x="9105" y="8002"/>
                    <a:pt x="9168" y="7719"/>
                    <a:pt x="9168" y="7467"/>
                  </a:cubicBezTo>
                  <a:cubicBezTo>
                    <a:pt x="9168" y="6081"/>
                    <a:pt x="8066" y="4978"/>
                    <a:pt x="6711" y="4978"/>
                  </a:cubicBezTo>
                  <a:cubicBezTo>
                    <a:pt x="5325" y="4978"/>
                    <a:pt x="4222" y="6081"/>
                    <a:pt x="4222" y="7467"/>
                  </a:cubicBezTo>
                  <a:cubicBezTo>
                    <a:pt x="4222" y="7719"/>
                    <a:pt x="4254" y="8002"/>
                    <a:pt x="4380" y="8286"/>
                  </a:cubicBezTo>
                  <a:lnTo>
                    <a:pt x="2395" y="8286"/>
                  </a:lnTo>
                  <a:cubicBezTo>
                    <a:pt x="2237" y="7467"/>
                    <a:pt x="1607" y="6837"/>
                    <a:pt x="788" y="6679"/>
                  </a:cubicBezTo>
                  <a:lnTo>
                    <a:pt x="788" y="2457"/>
                  </a:lnTo>
                  <a:cubicBezTo>
                    <a:pt x="1607" y="2300"/>
                    <a:pt x="2237" y="1670"/>
                    <a:pt x="2395" y="851"/>
                  </a:cubicBezTo>
                  <a:close/>
                  <a:moveTo>
                    <a:pt x="6711" y="5797"/>
                  </a:moveTo>
                  <a:cubicBezTo>
                    <a:pt x="7593" y="5797"/>
                    <a:pt x="8349" y="6553"/>
                    <a:pt x="8349" y="7467"/>
                  </a:cubicBezTo>
                  <a:cubicBezTo>
                    <a:pt x="8349" y="8349"/>
                    <a:pt x="7593" y="9105"/>
                    <a:pt x="6711" y="9105"/>
                  </a:cubicBezTo>
                  <a:cubicBezTo>
                    <a:pt x="5797" y="9105"/>
                    <a:pt x="5041" y="8349"/>
                    <a:pt x="5041" y="7467"/>
                  </a:cubicBezTo>
                  <a:cubicBezTo>
                    <a:pt x="5041" y="6553"/>
                    <a:pt x="5797" y="5797"/>
                    <a:pt x="6711" y="5797"/>
                  </a:cubicBezTo>
                  <a:close/>
                  <a:moveTo>
                    <a:pt x="7530" y="9767"/>
                  </a:moveTo>
                  <a:lnTo>
                    <a:pt x="7530" y="11468"/>
                  </a:lnTo>
                  <a:lnTo>
                    <a:pt x="6932" y="11090"/>
                  </a:lnTo>
                  <a:cubicBezTo>
                    <a:pt x="6853" y="11043"/>
                    <a:pt x="6774" y="11019"/>
                    <a:pt x="6695" y="11019"/>
                  </a:cubicBezTo>
                  <a:cubicBezTo>
                    <a:pt x="6616" y="11019"/>
                    <a:pt x="6538" y="11043"/>
                    <a:pt x="6459" y="11090"/>
                  </a:cubicBezTo>
                  <a:lnTo>
                    <a:pt x="5860" y="11468"/>
                  </a:lnTo>
                  <a:lnTo>
                    <a:pt x="5860" y="9767"/>
                  </a:lnTo>
                  <a:cubicBezTo>
                    <a:pt x="6144" y="9861"/>
                    <a:pt x="6427" y="9924"/>
                    <a:pt x="6711" y="9924"/>
                  </a:cubicBezTo>
                  <a:cubicBezTo>
                    <a:pt x="6995" y="9924"/>
                    <a:pt x="7247" y="9893"/>
                    <a:pt x="7530" y="9767"/>
                  </a:cubicBezTo>
                  <a:close/>
                  <a:moveTo>
                    <a:pt x="2048" y="0"/>
                  </a:moveTo>
                  <a:cubicBezTo>
                    <a:pt x="1828" y="0"/>
                    <a:pt x="1670" y="221"/>
                    <a:pt x="1670" y="441"/>
                  </a:cubicBezTo>
                  <a:cubicBezTo>
                    <a:pt x="1670" y="1103"/>
                    <a:pt x="1103" y="1670"/>
                    <a:pt x="410" y="1670"/>
                  </a:cubicBezTo>
                  <a:cubicBezTo>
                    <a:pt x="158" y="1670"/>
                    <a:pt x="0" y="1859"/>
                    <a:pt x="0" y="2111"/>
                  </a:cubicBezTo>
                  <a:lnTo>
                    <a:pt x="0" y="7057"/>
                  </a:lnTo>
                  <a:cubicBezTo>
                    <a:pt x="0" y="7278"/>
                    <a:pt x="189" y="7498"/>
                    <a:pt x="410" y="7498"/>
                  </a:cubicBezTo>
                  <a:cubicBezTo>
                    <a:pt x="1072" y="7498"/>
                    <a:pt x="1670" y="8034"/>
                    <a:pt x="1670" y="8758"/>
                  </a:cubicBezTo>
                  <a:cubicBezTo>
                    <a:pt x="1670" y="8979"/>
                    <a:pt x="1859" y="9136"/>
                    <a:pt x="2048" y="9136"/>
                  </a:cubicBezTo>
                  <a:lnTo>
                    <a:pt x="4884" y="9136"/>
                  </a:lnTo>
                  <a:lnTo>
                    <a:pt x="5073" y="9326"/>
                  </a:lnTo>
                  <a:lnTo>
                    <a:pt x="5073" y="12318"/>
                  </a:lnTo>
                  <a:cubicBezTo>
                    <a:pt x="5073" y="12562"/>
                    <a:pt x="5298" y="12749"/>
                    <a:pt x="5517" y="12749"/>
                  </a:cubicBezTo>
                  <a:cubicBezTo>
                    <a:pt x="5581" y="12749"/>
                    <a:pt x="5645" y="12732"/>
                    <a:pt x="5703" y="12697"/>
                  </a:cubicBezTo>
                  <a:lnTo>
                    <a:pt x="6743" y="12003"/>
                  </a:lnTo>
                  <a:lnTo>
                    <a:pt x="7782" y="12697"/>
                  </a:lnTo>
                  <a:cubicBezTo>
                    <a:pt x="7850" y="12747"/>
                    <a:pt x="7926" y="12771"/>
                    <a:pt x="8002" y="12771"/>
                  </a:cubicBezTo>
                  <a:cubicBezTo>
                    <a:pt x="8210" y="12771"/>
                    <a:pt x="8412" y="12595"/>
                    <a:pt x="8412" y="12318"/>
                  </a:cubicBezTo>
                  <a:lnTo>
                    <a:pt x="8412" y="9262"/>
                  </a:lnTo>
                  <a:lnTo>
                    <a:pt x="8601" y="9073"/>
                  </a:lnTo>
                  <a:lnTo>
                    <a:pt x="10618" y="9073"/>
                  </a:lnTo>
                  <a:cubicBezTo>
                    <a:pt x="10838" y="9073"/>
                    <a:pt x="10996" y="8884"/>
                    <a:pt x="10996" y="8664"/>
                  </a:cubicBezTo>
                  <a:cubicBezTo>
                    <a:pt x="10996" y="8002"/>
                    <a:pt x="11563" y="7404"/>
                    <a:pt x="12224" y="7404"/>
                  </a:cubicBezTo>
                  <a:cubicBezTo>
                    <a:pt x="12445" y="7404"/>
                    <a:pt x="12665" y="7215"/>
                    <a:pt x="12665" y="6994"/>
                  </a:cubicBezTo>
                  <a:lnTo>
                    <a:pt x="12665" y="2016"/>
                  </a:lnTo>
                  <a:cubicBezTo>
                    <a:pt x="12602" y="1827"/>
                    <a:pt x="12445" y="1670"/>
                    <a:pt x="12224" y="1670"/>
                  </a:cubicBezTo>
                  <a:cubicBezTo>
                    <a:pt x="11531" y="1670"/>
                    <a:pt x="10996" y="1103"/>
                    <a:pt x="10996" y="441"/>
                  </a:cubicBezTo>
                  <a:cubicBezTo>
                    <a:pt x="10996" y="221"/>
                    <a:pt x="10807" y="0"/>
                    <a:pt x="105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3" name="Google Shape;13964;p77">
              <a:extLst>
                <a:ext uri="{FF2B5EF4-FFF2-40B4-BE49-F238E27FC236}">
                  <a16:creationId xmlns:a16="http://schemas.microsoft.com/office/drawing/2014/main" id="{35E31550-50C4-4382-A78B-2EA93325028C}"/>
                </a:ext>
              </a:extLst>
            </p:cNvPr>
            <p:cNvSpPr/>
            <p:nvPr/>
          </p:nvSpPr>
          <p:spPr>
            <a:xfrm>
              <a:off x="-61701425" y="2705875"/>
              <a:ext cx="151250" cy="21275"/>
            </a:xfrm>
            <a:custGeom>
              <a:avLst/>
              <a:gdLst/>
              <a:ahLst/>
              <a:cxnLst/>
              <a:rect l="l" t="t" r="r" b="b"/>
              <a:pathLst>
                <a:path w="6050" h="851" extrusionOk="0">
                  <a:moveTo>
                    <a:pt x="410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662"/>
                    <a:pt x="189" y="851"/>
                    <a:pt x="410" y="851"/>
                  </a:cubicBezTo>
                  <a:lnTo>
                    <a:pt x="5671" y="851"/>
                  </a:lnTo>
                  <a:cubicBezTo>
                    <a:pt x="5892" y="851"/>
                    <a:pt x="6049" y="662"/>
                    <a:pt x="6049" y="410"/>
                  </a:cubicBezTo>
                  <a:cubicBezTo>
                    <a:pt x="6049" y="189"/>
                    <a:pt x="5860" y="0"/>
                    <a:pt x="56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4" name="Google Shape;13965;p77">
              <a:extLst>
                <a:ext uri="{FF2B5EF4-FFF2-40B4-BE49-F238E27FC236}">
                  <a16:creationId xmlns:a16="http://schemas.microsoft.com/office/drawing/2014/main" id="{69376EDB-781E-456C-B4C2-85B88FC62E33}"/>
                </a:ext>
              </a:extLst>
            </p:cNvPr>
            <p:cNvSpPr/>
            <p:nvPr/>
          </p:nvSpPr>
          <p:spPr>
            <a:xfrm>
              <a:off x="-61742375" y="2747625"/>
              <a:ext cx="233925" cy="22075"/>
            </a:xfrm>
            <a:custGeom>
              <a:avLst/>
              <a:gdLst/>
              <a:ahLst/>
              <a:cxnLst/>
              <a:rect l="l" t="t" r="r" b="b"/>
              <a:pathLst>
                <a:path w="9357" h="883" extrusionOk="0">
                  <a:moveTo>
                    <a:pt x="410" y="0"/>
                  </a:moveTo>
                  <a:cubicBezTo>
                    <a:pt x="158" y="0"/>
                    <a:pt x="0" y="221"/>
                    <a:pt x="0" y="441"/>
                  </a:cubicBezTo>
                  <a:cubicBezTo>
                    <a:pt x="0" y="693"/>
                    <a:pt x="221" y="882"/>
                    <a:pt x="410" y="882"/>
                  </a:cubicBezTo>
                  <a:lnTo>
                    <a:pt x="8948" y="882"/>
                  </a:lnTo>
                  <a:cubicBezTo>
                    <a:pt x="9200" y="882"/>
                    <a:pt x="9357" y="693"/>
                    <a:pt x="9357" y="441"/>
                  </a:cubicBezTo>
                  <a:cubicBezTo>
                    <a:pt x="9357" y="221"/>
                    <a:pt x="9137" y="0"/>
                    <a:pt x="89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25" name="Google Shape;13529;p76">
            <a:extLst>
              <a:ext uri="{FF2B5EF4-FFF2-40B4-BE49-F238E27FC236}">
                <a16:creationId xmlns:a16="http://schemas.microsoft.com/office/drawing/2014/main" id="{EF937C7B-9122-4064-9E28-E8D4B68ABB23}"/>
              </a:ext>
            </a:extLst>
          </p:cNvPr>
          <p:cNvSpPr/>
          <p:nvPr/>
        </p:nvSpPr>
        <p:spPr>
          <a:xfrm>
            <a:off x="7478389" y="4236470"/>
            <a:ext cx="615297" cy="514748"/>
          </a:xfrm>
          <a:custGeom>
            <a:avLst/>
            <a:gdLst/>
            <a:ahLst/>
            <a:cxnLst/>
            <a:rect l="l" t="t" r="r" b="b"/>
            <a:pathLst>
              <a:path w="12918" h="10807" extrusionOk="0">
                <a:moveTo>
                  <a:pt x="10807" y="851"/>
                </a:moveTo>
                <a:cubicBezTo>
                  <a:pt x="10366" y="1608"/>
                  <a:pt x="10366" y="2584"/>
                  <a:pt x="10807" y="3340"/>
                </a:cubicBezTo>
                <a:lnTo>
                  <a:pt x="2332" y="3340"/>
                </a:lnTo>
                <a:cubicBezTo>
                  <a:pt x="1765" y="3340"/>
                  <a:pt x="1293" y="2962"/>
                  <a:pt x="1135" y="2458"/>
                </a:cubicBezTo>
                <a:cubicBezTo>
                  <a:pt x="915" y="1671"/>
                  <a:pt x="1513" y="851"/>
                  <a:pt x="2332" y="851"/>
                </a:cubicBezTo>
                <a:close/>
                <a:moveTo>
                  <a:pt x="8822" y="4159"/>
                </a:moveTo>
                <a:lnTo>
                  <a:pt x="8822" y="6648"/>
                </a:lnTo>
                <a:lnTo>
                  <a:pt x="1891" y="6648"/>
                </a:lnTo>
                <a:lnTo>
                  <a:pt x="1891" y="4159"/>
                </a:lnTo>
                <a:close/>
                <a:moveTo>
                  <a:pt x="10524" y="4159"/>
                </a:moveTo>
                <a:lnTo>
                  <a:pt x="10524" y="6648"/>
                </a:lnTo>
                <a:lnTo>
                  <a:pt x="9704" y="6648"/>
                </a:lnTo>
                <a:lnTo>
                  <a:pt x="9704" y="4159"/>
                </a:lnTo>
                <a:close/>
                <a:moveTo>
                  <a:pt x="12130" y="4159"/>
                </a:moveTo>
                <a:lnTo>
                  <a:pt x="12130" y="6648"/>
                </a:lnTo>
                <a:lnTo>
                  <a:pt x="11343" y="6648"/>
                </a:lnTo>
                <a:lnTo>
                  <a:pt x="11343" y="4159"/>
                </a:lnTo>
                <a:close/>
                <a:moveTo>
                  <a:pt x="1986" y="7467"/>
                </a:moveTo>
                <a:lnTo>
                  <a:pt x="1986" y="9956"/>
                </a:lnTo>
                <a:lnTo>
                  <a:pt x="1104" y="9956"/>
                </a:lnTo>
                <a:lnTo>
                  <a:pt x="1104" y="7467"/>
                </a:lnTo>
                <a:close/>
                <a:moveTo>
                  <a:pt x="3624" y="7467"/>
                </a:moveTo>
                <a:lnTo>
                  <a:pt x="3624" y="9956"/>
                </a:lnTo>
                <a:lnTo>
                  <a:pt x="2805" y="9956"/>
                </a:lnTo>
                <a:lnTo>
                  <a:pt x="2805" y="7467"/>
                </a:lnTo>
                <a:close/>
                <a:moveTo>
                  <a:pt x="11311" y="7467"/>
                </a:moveTo>
                <a:lnTo>
                  <a:pt x="11311" y="9956"/>
                </a:lnTo>
                <a:lnTo>
                  <a:pt x="4443" y="9956"/>
                </a:lnTo>
                <a:lnTo>
                  <a:pt x="4443" y="7467"/>
                </a:lnTo>
                <a:close/>
                <a:moveTo>
                  <a:pt x="2364" y="1"/>
                </a:moveTo>
                <a:cubicBezTo>
                  <a:pt x="1671" y="1"/>
                  <a:pt x="1041" y="379"/>
                  <a:pt x="631" y="914"/>
                </a:cubicBezTo>
                <a:cubicBezTo>
                  <a:pt x="1" y="1828"/>
                  <a:pt x="253" y="3088"/>
                  <a:pt x="1104" y="3718"/>
                </a:cubicBezTo>
                <a:lnTo>
                  <a:pt x="1104" y="6648"/>
                </a:lnTo>
                <a:lnTo>
                  <a:pt x="694" y="6648"/>
                </a:lnTo>
                <a:cubicBezTo>
                  <a:pt x="442" y="6648"/>
                  <a:pt x="284" y="6837"/>
                  <a:pt x="284" y="7058"/>
                </a:cubicBezTo>
                <a:lnTo>
                  <a:pt x="284" y="10366"/>
                </a:lnTo>
                <a:cubicBezTo>
                  <a:pt x="284" y="10618"/>
                  <a:pt x="473" y="10807"/>
                  <a:pt x="694" y="10807"/>
                </a:cubicBezTo>
                <a:lnTo>
                  <a:pt x="11721" y="10807"/>
                </a:lnTo>
                <a:cubicBezTo>
                  <a:pt x="11941" y="10807"/>
                  <a:pt x="12130" y="10618"/>
                  <a:pt x="12130" y="10366"/>
                </a:cubicBezTo>
                <a:lnTo>
                  <a:pt x="12130" y="7499"/>
                </a:lnTo>
                <a:lnTo>
                  <a:pt x="12540" y="7499"/>
                </a:lnTo>
                <a:cubicBezTo>
                  <a:pt x="12760" y="7499"/>
                  <a:pt x="12918" y="7310"/>
                  <a:pt x="12918" y="7058"/>
                </a:cubicBezTo>
                <a:lnTo>
                  <a:pt x="12918" y="3750"/>
                </a:lnTo>
                <a:cubicBezTo>
                  <a:pt x="12918" y="3529"/>
                  <a:pt x="12760" y="3340"/>
                  <a:pt x="12540" y="3340"/>
                </a:cubicBezTo>
                <a:lnTo>
                  <a:pt x="11878" y="3340"/>
                </a:lnTo>
                <a:cubicBezTo>
                  <a:pt x="11091" y="2647"/>
                  <a:pt x="11122" y="1387"/>
                  <a:pt x="11973" y="757"/>
                </a:cubicBezTo>
                <a:cubicBezTo>
                  <a:pt x="12256" y="536"/>
                  <a:pt x="12130" y="64"/>
                  <a:pt x="11784" y="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grpSp>
        <p:nvGrpSpPr>
          <p:cNvPr id="26" name="Google Shape;15116;p81">
            <a:extLst>
              <a:ext uri="{FF2B5EF4-FFF2-40B4-BE49-F238E27FC236}">
                <a16:creationId xmlns:a16="http://schemas.microsoft.com/office/drawing/2014/main" id="{59CE6331-1115-48AC-BA80-4F304F5AD31D}"/>
              </a:ext>
            </a:extLst>
          </p:cNvPr>
          <p:cNvGrpSpPr/>
          <p:nvPr/>
        </p:nvGrpSpPr>
        <p:grpSpPr>
          <a:xfrm>
            <a:off x="10658937" y="3511972"/>
            <a:ext cx="582445" cy="514748"/>
            <a:chOff x="-3137650" y="2787000"/>
            <a:chExt cx="291450" cy="257575"/>
          </a:xfrm>
          <a:solidFill>
            <a:schemeClr val="tx1"/>
          </a:solidFill>
        </p:grpSpPr>
        <p:sp>
          <p:nvSpPr>
            <p:cNvPr id="27" name="Google Shape;15117;p81">
              <a:extLst>
                <a:ext uri="{FF2B5EF4-FFF2-40B4-BE49-F238E27FC236}">
                  <a16:creationId xmlns:a16="http://schemas.microsoft.com/office/drawing/2014/main" id="{1D123F08-2234-4AF6-A0AA-2F76CED0EF42}"/>
                </a:ext>
              </a:extLst>
            </p:cNvPr>
            <p:cNvSpPr/>
            <p:nvPr/>
          </p:nvSpPr>
          <p:spPr>
            <a:xfrm>
              <a:off x="-3137650" y="2787000"/>
              <a:ext cx="291450" cy="257575"/>
            </a:xfrm>
            <a:custGeom>
              <a:avLst/>
              <a:gdLst/>
              <a:ahLst/>
              <a:cxnLst/>
              <a:rect l="l" t="t" r="r" b="b"/>
              <a:pathLst>
                <a:path w="11658" h="10303" extrusionOk="0">
                  <a:moveTo>
                    <a:pt x="10618" y="693"/>
                  </a:moveTo>
                  <a:cubicBezTo>
                    <a:pt x="10807" y="693"/>
                    <a:pt x="10964" y="851"/>
                    <a:pt x="10964" y="1040"/>
                  </a:cubicBezTo>
                  <a:lnTo>
                    <a:pt x="10964" y="2741"/>
                  </a:lnTo>
                  <a:lnTo>
                    <a:pt x="662" y="2741"/>
                  </a:lnTo>
                  <a:lnTo>
                    <a:pt x="662" y="1040"/>
                  </a:lnTo>
                  <a:cubicBezTo>
                    <a:pt x="662" y="851"/>
                    <a:pt x="820" y="693"/>
                    <a:pt x="1009" y="693"/>
                  </a:cubicBezTo>
                  <a:close/>
                  <a:moveTo>
                    <a:pt x="10996" y="3403"/>
                  </a:moveTo>
                  <a:lnTo>
                    <a:pt x="10996" y="9231"/>
                  </a:lnTo>
                  <a:cubicBezTo>
                    <a:pt x="10964" y="9420"/>
                    <a:pt x="10838" y="9578"/>
                    <a:pt x="10618" y="9578"/>
                  </a:cubicBezTo>
                  <a:lnTo>
                    <a:pt x="1009" y="9578"/>
                  </a:lnTo>
                  <a:cubicBezTo>
                    <a:pt x="820" y="9578"/>
                    <a:pt x="662" y="9420"/>
                    <a:pt x="662" y="9231"/>
                  </a:cubicBezTo>
                  <a:lnTo>
                    <a:pt x="662" y="3403"/>
                  </a:lnTo>
                  <a:close/>
                  <a:moveTo>
                    <a:pt x="1009" y="0"/>
                  </a:moveTo>
                  <a:cubicBezTo>
                    <a:pt x="473" y="0"/>
                    <a:pt x="1" y="473"/>
                    <a:pt x="1" y="1040"/>
                  </a:cubicBezTo>
                  <a:lnTo>
                    <a:pt x="1" y="9263"/>
                  </a:lnTo>
                  <a:cubicBezTo>
                    <a:pt x="1" y="9830"/>
                    <a:pt x="473" y="10302"/>
                    <a:pt x="1009" y="10302"/>
                  </a:cubicBezTo>
                  <a:lnTo>
                    <a:pt x="10618" y="10302"/>
                  </a:lnTo>
                  <a:cubicBezTo>
                    <a:pt x="11185" y="10302"/>
                    <a:pt x="11658" y="9830"/>
                    <a:pt x="11658" y="9263"/>
                  </a:cubicBezTo>
                  <a:lnTo>
                    <a:pt x="11658" y="1040"/>
                  </a:lnTo>
                  <a:cubicBezTo>
                    <a:pt x="11658" y="441"/>
                    <a:pt x="11217" y="0"/>
                    <a:pt x="106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8" name="Google Shape;15118;p81">
              <a:extLst>
                <a:ext uri="{FF2B5EF4-FFF2-40B4-BE49-F238E27FC236}">
                  <a16:creationId xmlns:a16="http://schemas.microsoft.com/office/drawing/2014/main" id="{CFD65D39-80ED-4913-A135-48C3AD03CEC5}"/>
                </a:ext>
              </a:extLst>
            </p:cNvPr>
            <p:cNvSpPr/>
            <p:nvPr/>
          </p:nvSpPr>
          <p:spPr>
            <a:xfrm>
              <a:off x="-3104575" y="282087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8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8" y="693"/>
                  </a:cubicBezTo>
                  <a:cubicBezTo>
                    <a:pt x="568" y="693"/>
                    <a:pt x="726" y="536"/>
                    <a:pt x="726" y="347"/>
                  </a:cubicBezTo>
                  <a:cubicBezTo>
                    <a:pt x="726" y="158"/>
                    <a:pt x="568" y="0"/>
                    <a:pt x="3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9" name="Google Shape;15119;p81">
              <a:extLst>
                <a:ext uri="{FF2B5EF4-FFF2-40B4-BE49-F238E27FC236}">
                  <a16:creationId xmlns:a16="http://schemas.microsoft.com/office/drawing/2014/main" id="{C57D0568-80B2-43E5-B534-CFA865B7665A}"/>
                </a:ext>
              </a:extLst>
            </p:cNvPr>
            <p:cNvSpPr/>
            <p:nvPr/>
          </p:nvSpPr>
          <p:spPr>
            <a:xfrm>
              <a:off x="-3069900" y="282087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36" y="693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0" name="Google Shape;15120;p81">
              <a:extLst>
                <a:ext uri="{FF2B5EF4-FFF2-40B4-BE49-F238E27FC236}">
                  <a16:creationId xmlns:a16="http://schemas.microsoft.com/office/drawing/2014/main" id="{1D62FD86-B38C-4F2A-AE36-853FF8414565}"/>
                </a:ext>
              </a:extLst>
            </p:cNvPr>
            <p:cNvSpPr/>
            <p:nvPr/>
          </p:nvSpPr>
          <p:spPr>
            <a:xfrm>
              <a:off x="-3035250" y="282087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36" y="693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1" name="Google Shape;15121;p81">
              <a:extLst>
                <a:ext uri="{FF2B5EF4-FFF2-40B4-BE49-F238E27FC236}">
                  <a16:creationId xmlns:a16="http://schemas.microsoft.com/office/drawing/2014/main" id="{73F981D1-47A2-4B5F-AD2D-383B2240BC07}"/>
                </a:ext>
              </a:extLst>
            </p:cNvPr>
            <p:cNvSpPr/>
            <p:nvPr/>
          </p:nvSpPr>
          <p:spPr>
            <a:xfrm>
              <a:off x="-3002175" y="2820875"/>
              <a:ext cx="121325" cy="17350"/>
            </a:xfrm>
            <a:custGeom>
              <a:avLst/>
              <a:gdLst/>
              <a:ahLst/>
              <a:cxnLst/>
              <a:rect l="l" t="t" r="r" b="b"/>
              <a:pathLst>
                <a:path w="4853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32" y="536"/>
                    <a:pt x="190" y="693"/>
                    <a:pt x="347" y="693"/>
                  </a:cubicBezTo>
                  <a:lnTo>
                    <a:pt x="4506" y="693"/>
                  </a:lnTo>
                  <a:cubicBezTo>
                    <a:pt x="4695" y="693"/>
                    <a:pt x="4852" y="536"/>
                    <a:pt x="4852" y="347"/>
                  </a:cubicBezTo>
                  <a:cubicBezTo>
                    <a:pt x="4852" y="158"/>
                    <a:pt x="4695" y="0"/>
                    <a:pt x="45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2" name="Google Shape;15122;p81">
              <a:extLst>
                <a:ext uri="{FF2B5EF4-FFF2-40B4-BE49-F238E27FC236}">
                  <a16:creationId xmlns:a16="http://schemas.microsoft.com/office/drawing/2014/main" id="{38AFA310-05F0-42D2-9625-068EDCDF2A9C}"/>
                </a:ext>
              </a:extLst>
            </p:cNvPr>
            <p:cNvSpPr/>
            <p:nvPr/>
          </p:nvSpPr>
          <p:spPr>
            <a:xfrm>
              <a:off x="-2948625" y="2907300"/>
              <a:ext cx="52025" cy="85300"/>
            </a:xfrm>
            <a:custGeom>
              <a:avLst/>
              <a:gdLst/>
              <a:ahLst/>
              <a:cxnLst/>
              <a:rect l="l" t="t" r="r" b="b"/>
              <a:pathLst>
                <a:path w="2081" h="3412" extrusionOk="0">
                  <a:moveTo>
                    <a:pt x="347" y="1"/>
                  </a:moveTo>
                  <a:cubicBezTo>
                    <a:pt x="261" y="1"/>
                    <a:pt x="174" y="24"/>
                    <a:pt x="127" y="72"/>
                  </a:cubicBezTo>
                  <a:cubicBezTo>
                    <a:pt x="1" y="198"/>
                    <a:pt x="1" y="450"/>
                    <a:pt x="127" y="544"/>
                  </a:cubicBezTo>
                  <a:lnTo>
                    <a:pt x="1261" y="1710"/>
                  </a:lnTo>
                  <a:lnTo>
                    <a:pt x="127" y="2844"/>
                  </a:lnTo>
                  <a:cubicBezTo>
                    <a:pt x="1" y="2970"/>
                    <a:pt x="1" y="3191"/>
                    <a:pt x="127" y="3317"/>
                  </a:cubicBezTo>
                  <a:cubicBezTo>
                    <a:pt x="174" y="3380"/>
                    <a:pt x="261" y="3411"/>
                    <a:pt x="347" y="3411"/>
                  </a:cubicBezTo>
                  <a:cubicBezTo>
                    <a:pt x="434" y="3411"/>
                    <a:pt x="521" y="3380"/>
                    <a:pt x="568" y="3317"/>
                  </a:cubicBezTo>
                  <a:lnTo>
                    <a:pt x="1954" y="1930"/>
                  </a:lnTo>
                  <a:cubicBezTo>
                    <a:pt x="2080" y="1804"/>
                    <a:pt x="2080" y="1584"/>
                    <a:pt x="1954" y="1458"/>
                  </a:cubicBezTo>
                  <a:lnTo>
                    <a:pt x="568" y="72"/>
                  </a:lnTo>
                  <a:cubicBezTo>
                    <a:pt x="521" y="24"/>
                    <a:pt x="434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3" name="Google Shape;15123;p81">
              <a:extLst>
                <a:ext uri="{FF2B5EF4-FFF2-40B4-BE49-F238E27FC236}">
                  <a16:creationId xmlns:a16="http://schemas.microsoft.com/office/drawing/2014/main" id="{2B18F69E-0FDF-40CD-990E-9D7F61F8C3D4}"/>
                </a:ext>
              </a:extLst>
            </p:cNvPr>
            <p:cNvSpPr/>
            <p:nvPr/>
          </p:nvSpPr>
          <p:spPr>
            <a:xfrm>
              <a:off x="-3088025" y="2907300"/>
              <a:ext cx="53575" cy="85300"/>
            </a:xfrm>
            <a:custGeom>
              <a:avLst/>
              <a:gdLst/>
              <a:ahLst/>
              <a:cxnLst/>
              <a:rect l="l" t="t" r="r" b="b"/>
              <a:pathLst>
                <a:path w="2143" h="3412" extrusionOk="0">
                  <a:moveTo>
                    <a:pt x="1749" y="1"/>
                  </a:moveTo>
                  <a:cubicBezTo>
                    <a:pt x="1662" y="1"/>
                    <a:pt x="1576" y="24"/>
                    <a:pt x="1513" y="72"/>
                  </a:cubicBezTo>
                  <a:lnTo>
                    <a:pt x="127" y="1458"/>
                  </a:lnTo>
                  <a:cubicBezTo>
                    <a:pt x="1" y="1584"/>
                    <a:pt x="1" y="1804"/>
                    <a:pt x="127" y="1930"/>
                  </a:cubicBezTo>
                  <a:lnTo>
                    <a:pt x="1513" y="3317"/>
                  </a:lnTo>
                  <a:cubicBezTo>
                    <a:pt x="1576" y="3380"/>
                    <a:pt x="1662" y="3411"/>
                    <a:pt x="1749" y="3411"/>
                  </a:cubicBezTo>
                  <a:cubicBezTo>
                    <a:pt x="1836" y="3411"/>
                    <a:pt x="1922" y="3380"/>
                    <a:pt x="1985" y="3317"/>
                  </a:cubicBezTo>
                  <a:cubicBezTo>
                    <a:pt x="2111" y="3191"/>
                    <a:pt x="2111" y="2970"/>
                    <a:pt x="1985" y="2844"/>
                  </a:cubicBezTo>
                  <a:lnTo>
                    <a:pt x="851" y="1710"/>
                  </a:lnTo>
                  <a:lnTo>
                    <a:pt x="1985" y="544"/>
                  </a:lnTo>
                  <a:cubicBezTo>
                    <a:pt x="2143" y="450"/>
                    <a:pt x="2143" y="198"/>
                    <a:pt x="1985" y="72"/>
                  </a:cubicBezTo>
                  <a:cubicBezTo>
                    <a:pt x="1922" y="24"/>
                    <a:pt x="1836" y="1"/>
                    <a:pt x="17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34" name="Google Shape;15124;p81">
              <a:extLst>
                <a:ext uri="{FF2B5EF4-FFF2-40B4-BE49-F238E27FC236}">
                  <a16:creationId xmlns:a16="http://schemas.microsoft.com/office/drawing/2014/main" id="{84073633-732A-4268-B1F6-350462993709}"/>
                </a:ext>
              </a:extLst>
            </p:cNvPr>
            <p:cNvSpPr/>
            <p:nvPr/>
          </p:nvSpPr>
          <p:spPr>
            <a:xfrm>
              <a:off x="-3019500" y="2888975"/>
              <a:ext cx="54375" cy="119400"/>
            </a:xfrm>
            <a:custGeom>
              <a:avLst/>
              <a:gdLst/>
              <a:ahLst/>
              <a:cxnLst/>
              <a:rect l="l" t="t" r="r" b="b"/>
              <a:pathLst>
                <a:path w="2175" h="4776" extrusionOk="0">
                  <a:moveTo>
                    <a:pt x="1778" y="0"/>
                  </a:moveTo>
                  <a:cubicBezTo>
                    <a:pt x="1617" y="0"/>
                    <a:pt x="1501" y="108"/>
                    <a:pt x="1450" y="237"/>
                  </a:cubicBezTo>
                  <a:lnTo>
                    <a:pt x="63" y="4333"/>
                  </a:lnTo>
                  <a:cubicBezTo>
                    <a:pt x="0" y="4522"/>
                    <a:pt x="95" y="4680"/>
                    <a:pt x="253" y="4743"/>
                  </a:cubicBezTo>
                  <a:cubicBezTo>
                    <a:pt x="305" y="4765"/>
                    <a:pt x="354" y="4775"/>
                    <a:pt x="399" y="4775"/>
                  </a:cubicBezTo>
                  <a:cubicBezTo>
                    <a:pt x="543" y="4775"/>
                    <a:pt x="646" y="4674"/>
                    <a:pt x="694" y="4554"/>
                  </a:cubicBezTo>
                  <a:lnTo>
                    <a:pt x="2080" y="458"/>
                  </a:lnTo>
                  <a:cubicBezTo>
                    <a:pt x="2174" y="300"/>
                    <a:pt x="2048" y="111"/>
                    <a:pt x="1891" y="17"/>
                  </a:cubicBezTo>
                  <a:cubicBezTo>
                    <a:pt x="1851" y="6"/>
                    <a:pt x="1813" y="0"/>
                    <a:pt x="17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75CA14D-58BB-4560-90FF-4CBD03F38612}"/>
              </a:ext>
            </a:extLst>
          </p:cNvPr>
          <p:cNvSpPr txBox="1"/>
          <p:nvPr/>
        </p:nvSpPr>
        <p:spPr>
          <a:xfrm>
            <a:off x="3827748" y="803610"/>
            <a:ext cx="34343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Биржевой сбор	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CFC3CC5-365E-4200-BE4B-A4A97163894B}"/>
              </a:ext>
            </a:extLst>
          </p:cNvPr>
          <p:cNvSpPr txBox="1"/>
          <p:nvPr/>
        </p:nvSpPr>
        <p:spPr>
          <a:xfrm>
            <a:off x="2576753" y="3425054"/>
            <a:ext cx="24850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Бесплатно	</a:t>
            </a:r>
          </a:p>
        </p:txBody>
      </p:sp>
      <p:sp>
        <p:nvSpPr>
          <p:cNvPr id="41" name="Google Shape;13804;p77">
            <a:extLst>
              <a:ext uri="{FF2B5EF4-FFF2-40B4-BE49-F238E27FC236}">
                <a16:creationId xmlns:a16="http://schemas.microsoft.com/office/drawing/2014/main" id="{DBE709D5-54CC-4040-9161-68CBD33B0377}"/>
              </a:ext>
            </a:extLst>
          </p:cNvPr>
          <p:cNvSpPr/>
          <p:nvPr/>
        </p:nvSpPr>
        <p:spPr>
          <a:xfrm>
            <a:off x="875420" y="4797152"/>
            <a:ext cx="792088" cy="782675"/>
          </a:xfrm>
          <a:custGeom>
            <a:avLst/>
            <a:gdLst/>
            <a:ahLst/>
            <a:cxnLst/>
            <a:rect l="l" t="t" r="r" b="b"/>
            <a:pathLst>
              <a:path w="12877" h="12724" extrusionOk="0">
                <a:moveTo>
                  <a:pt x="10492" y="1603"/>
                </a:moveTo>
                <a:lnTo>
                  <a:pt x="10429" y="1855"/>
                </a:lnTo>
                <a:cubicBezTo>
                  <a:pt x="10429" y="1981"/>
                  <a:pt x="10492" y="2138"/>
                  <a:pt x="10555" y="2201"/>
                </a:cubicBezTo>
                <a:cubicBezTo>
                  <a:pt x="10649" y="2296"/>
                  <a:pt x="10807" y="2327"/>
                  <a:pt x="10901" y="2327"/>
                </a:cubicBezTo>
                <a:lnTo>
                  <a:pt x="11153" y="2296"/>
                </a:lnTo>
                <a:lnTo>
                  <a:pt x="10492" y="2957"/>
                </a:lnTo>
                <a:lnTo>
                  <a:pt x="9736" y="3083"/>
                </a:lnTo>
                <a:lnTo>
                  <a:pt x="9799" y="2296"/>
                </a:lnTo>
                <a:lnTo>
                  <a:pt x="10492" y="1603"/>
                </a:lnTo>
                <a:close/>
                <a:moveTo>
                  <a:pt x="6270" y="6108"/>
                </a:moveTo>
                <a:cubicBezTo>
                  <a:pt x="6396" y="6108"/>
                  <a:pt x="6459" y="6139"/>
                  <a:pt x="6554" y="6234"/>
                </a:cubicBezTo>
                <a:cubicBezTo>
                  <a:pt x="6617" y="6265"/>
                  <a:pt x="6648" y="6391"/>
                  <a:pt x="6648" y="6486"/>
                </a:cubicBezTo>
                <a:cubicBezTo>
                  <a:pt x="6648" y="6738"/>
                  <a:pt x="6459" y="6927"/>
                  <a:pt x="6270" y="6927"/>
                </a:cubicBezTo>
                <a:cubicBezTo>
                  <a:pt x="6081" y="6927"/>
                  <a:pt x="5861" y="6738"/>
                  <a:pt x="5861" y="6486"/>
                </a:cubicBezTo>
                <a:cubicBezTo>
                  <a:pt x="5861" y="6265"/>
                  <a:pt x="6081" y="6108"/>
                  <a:pt x="6270" y="6108"/>
                </a:cubicBezTo>
                <a:close/>
                <a:moveTo>
                  <a:pt x="6176" y="4375"/>
                </a:moveTo>
                <a:cubicBezTo>
                  <a:pt x="6617" y="4375"/>
                  <a:pt x="7026" y="4501"/>
                  <a:pt x="7341" y="4722"/>
                </a:cubicBezTo>
                <a:lnTo>
                  <a:pt x="6743" y="5320"/>
                </a:lnTo>
                <a:cubicBezTo>
                  <a:pt x="6617" y="5289"/>
                  <a:pt x="6428" y="5226"/>
                  <a:pt x="6239" y="5226"/>
                </a:cubicBezTo>
                <a:cubicBezTo>
                  <a:pt x="5546" y="5226"/>
                  <a:pt x="5010" y="5793"/>
                  <a:pt x="5010" y="6454"/>
                </a:cubicBezTo>
                <a:cubicBezTo>
                  <a:pt x="5010" y="7116"/>
                  <a:pt x="5546" y="7715"/>
                  <a:pt x="6239" y="7715"/>
                </a:cubicBezTo>
                <a:cubicBezTo>
                  <a:pt x="6900" y="7715"/>
                  <a:pt x="7467" y="7147"/>
                  <a:pt x="7467" y="6454"/>
                </a:cubicBezTo>
                <a:cubicBezTo>
                  <a:pt x="7467" y="6265"/>
                  <a:pt x="7404" y="6108"/>
                  <a:pt x="7341" y="5887"/>
                </a:cubicBezTo>
                <a:lnTo>
                  <a:pt x="7908" y="5320"/>
                </a:lnTo>
                <a:cubicBezTo>
                  <a:pt x="8160" y="5635"/>
                  <a:pt x="8286" y="6013"/>
                  <a:pt x="8286" y="6454"/>
                </a:cubicBezTo>
                <a:cubicBezTo>
                  <a:pt x="8286" y="7588"/>
                  <a:pt x="7341" y="8534"/>
                  <a:pt x="6176" y="8534"/>
                </a:cubicBezTo>
                <a:cubicBezTo>
                  <a:pt x="5041" y="8534"/>
                  <a:pt x="4096" y="7588"/>
                  <a:pt x="4096" y="6454"/>
                </a:cubicBezTo>
                <a:cubicBezTo>
                  <a:pt x="4096" y="5320"/>
                  <a:pt x="5041" y="4375"/>
                  <a:pt x="6176" y="4375"/>
                </a:cubicBezTo>
                <a:close/>
                <a:moveTo>
                  <a:pt x="6239" y="2800"/>
                </a:moveTo>
                <a:cubicBezTo>
                  <a:pt x="7089" y="2800"/>
                  <a:pt x="7908" y="3115"/>
                  <a:pt x="8539" y="3619"/>
                </a:cubicBezTo>
                <a:lnTo>
                  <a:pt x="7971" y="4217"/>
                </a:lnTo>
                <a:cubicBezTo>
                  <a:pt x="7499" y="3839"/>
                  <a:pt x="6869" y="3619"/>
                  <a:pt x="6239" y="3619"/>
                </a:cubicBezTo>
                <a:cubicBezTo>
                  <a:pt x="4600" y="3619"/>
                  <a:pt x="3309" y="4911"/>
                  <a:pt x="3309" y="6486"/>
                </a:cubicBezTo>
                <a:cubicBezTo>
                  <a:pt x="3309" y="8124"/>
                  <a:pt x="4632" y="9416"/>
                  <a:pt x="6239" y="9416"/>
                </a:cubicBezTo>
                <a:cubicBezTo>
                  <a:pt x="7845" y="9416"/>
                  <a:pt x="9137" y="8124"/>
                  <a:pt x="9137" y="6486"/>
                </a:cubicBezTo>
                <a:cubicBezTo>
                  <a:pt x="9137" y="5856"/>
                  <a:pt x="8948" y="5226"/>
                  <a:pt x="8539" y="4753"/>
                </a:cubicBezTo>
                <a:lnTo>
                  <a:pt x="9137" y="4154"/>
                </a:lnTo>
                <a:cubicBezTo>
                  <a:pt x="9641" y="4816"/>
                  <a:pt x="9956" y="5604"/>
                  <a:pt x="9956" y="6486"/>
                </a:cubicBezTo>
                <a:cubicBezTo>
                  <a:pt x="9956" y="8534"/>
                  <a:pt x="8318" y="10235"/>
                  <a:pt x="6239" y="10235"/>
                </a:cubicBezTo>
                <a:cubicBezTo>
                  <a:pt x="4191" y="10235"/>
                  <a:pt x="2490" y="8597"/>
                  <a:pt x="2490" y="6486"/>
                </a:cubicBezTo>
                <a:cubicBezTo>
                  <a:pt x="2490" y="4438"/>
                  <a:pt x="4128" y="2800"/>
                  <a:pt x="6239" y="2800"/>
                </a:cubicBezTo>
                <a:close/>
                <a:moveTo>
                  <a:pt x="6270" y="1130"/>
                </a:moveTo>
                <a:cubicBezTo>
                  <a:pt x="7247" y="1130"/>
                  <a:pt x="8223" y="1414"/>
                  <a:pt x="9074" y="1918"/>
                </a:cubicBezTo>
                <a:cubicBezTo>
                  <a:pt x="9074" y="1949"/>
                  <a:pt x="9011" y="2012"/>
                  <a:pt x="9011" y="2044"/>
                </a:cubicBezTo>
                <a:lnTo>
                  <a:pt x="8917" y="2831"/>
                </a:lnTo>
                <a:cubicBezTo>
                  <a:pt x="8160" y="2296"/>
                  <a:pt x="7247" y="1981"/>
                  <a:pt x="6270" y="1981"/>
                </a:cubicBezTo>
                <a:cubicBezTo>
                  <a:pt x="3750" y="1981"/>
                  <a:pt x="1733" y="4028"/>
                  <a:pt x="1733" y="6486"/>
                </a:cubicBezTo>
                <a:cubicBezTo>
                  <a:pt x="1733" y="9006"/>
                  <a:pt x="3781" y="11054"/>
                  <a:pt x="6270" y="11054"/>
                </a:cubicBezTo>
                <a:cubicBezTo>
                  <a:pt x="8759" y="11054"/>
                  <a:pt x="10807" y="9006"/>
                  <a:pt x="10807" y="6486"/>
                </a:cubicBezTo>
                <a:cubicBezTo>
                  <a:pt x="10807" y="5509"/>
                  <a:pt x="10492" y="4596"/>
                  <a:pt x="9925" y="3871"/>
                </a:cubicBezTo>
                <a:lnTo>
                  <a:pt x="10712" y="3745"/>
                </a:lnTo>
                <a:cubicBezTo>
                  <a:pt x="10744" y="3745"/>
                  <a:pt x="10807" y="3745"/>
                  <a:pt x="10838" y="3713"/>
                </a:cubicBezTo>
                <a:cubicBezTo>
                  <a:pt x="11342" y="4533"/>
                  <a:pt x="11626" y="5478"/>
                  <a:pt x="11626" y="6486"/>
                </a:cubicBezTo>
                <a:cubicBezTo>
                  <a:pt x="11626" y="9447"/>
                  <a:pt x="9232" y="11873"/>
                  <a:pt x="6270" y="11873"/>
                </a:cubicBezTo>
                <a:cubicBezTo>
                  <a:pt x="3309" y="11873"/>
                  <a:pt x="914" y="9479"/>
                  <a:pt x="914" y="6486"/>
                </a:cubicBezTo>
                <a:cubicBezTo>
                  <a:pt x="914" y="3524"/>
                  <a:pt x="3309" y="1130"/>
                  <a:pt x="6270" y="1130"/>
                </a:cubicBezTo>
                <a:close/>
                <a:moveTo>
                  <a:pt x="11030" y="0"/>
                </a:moveTo>
                <a:cubicBezTo>
                  <a:pt x="10930" y="0"/>
                  <a:pt x="10829" y="37"/>
                  <a:pt x="10744" y="122"/>
                </a:cubicBezTo>
                <a:lnTo>
                  <a:pt x="9610" y="1256"/>
                </a:lnTo>
                <a:cubicBezTo>
                  <a:pt x="8602" y="594"/>
                  <a:pt x="7467" y="279"/>
                  <a:pt x="6239" y="279"/>
                </a:cubicBezTo>
                <a:cubicBezTo>
                  <a:pt x="2805" y="279"/>
                  <a:pt x="1" y="3020"/>
                  <a:pt x="1" y="6486"/>
                </a:cubicBezTo>
                <a:cubicBezTo>
                  <a:pt x="1" y="9920"/>
                  <a:pt x="2773" y="12724"/>
                  <a:pt x="6239" y="12724"/>
                </a:cubicBezTo>
                <a:cubicBezTo>
                  <a:pt x="9641" y="12724"/>
                  <a:pt x="12445" y="9951"/>
                  <a:pt x="12445" y="6486"/>
                </a:cubicBezTo>
                <a:cubicBezTo>
                  <a:pt x="12445" y="5289"/>
                  <a:pt x="12099" y="4123"/>
                  <a:pt x="11468" y="3115"/>
                </a:cubicBezTo>
                <a:lnTo>
                  <a:pt x="12603" y="1981"/>
                </a:lnTo>
                <a:cubicBezTo>
                  <a:pt x="12877" y="1706"/>
                  <a:pt x="12650" y="1255"/>
                  <a:pt x="12292" y="1255"/>
                </a:cubicBezTo>
                <a:cubicBezTo>
                  <a:pt x="12280" y="1255"/>
                  <a:pt x="12268" y="1255"/>
                  <a:pt x="12256" y="1256"/>
                </a:cubicBezTo>
                <a:lnTo>
                  <a:pt x="11342" y="1382"/>
                </a:lnTo>
                <a:lnTo>
                  <a:pt x="11468" y="468"/>
                </a:lnTo>
                <a:cubicBezTo>
                  <a:pt x="11491" y="203"/>
                  <a:pt x="11265" y="0"/>
                  <a:pt x="11030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8221361-C68B-4CFB-A3BD-00577174FBDF}"/>
              </a:ext>
            </a:extLst>
          </p:cNvPr>
          <p:cNvGrpSpPr/>
          <p:nvPr/>
        </p:nvGrpSpPr>
        <p:grpSpPr>
          <a:xfrm>
            <a:off x="2367193" y="5157192"/>
            <a:ext cx="9561455" cy="1355039"/>
            <a:chOff x="1803666" y="5085106"/>
            <a:chExt cx="9561455" cy="1355039"/>
          </a:xfrm>
        </p:grpSpPr>
        <p:sp>
          <p:nvSpPr>
            <p:cNvPr id="35" name="Text Box 11">
              <a:extLst>
                <a:ext uri="{FF2B5EF4-FFF2-40B4-BE49-F238E27FC236}">
                  <a16:creationId xmlns:a16="http://schemas.microsoft.com/office/drawing/2014/main" id="{AE84B743-991B-4726-B122-8AE7121D60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66025" y="5085106"/>
              <a:ext cx="8599096" cy="12557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2700" dirty="0">
                  <a:solidFill>
                    <a:srgbClr val="649941"/>
                  </a:solidFill>
                  <a:latin typeface="Arial" panose="020B0604020202020204" pitchFamily="34" charset="0"/>
                  <a:sym typeface="Roboto" pitchFamily="2" charset="0"/>
                </a:rPr>
                <a:t>Биржевой сбор уплачивается </a:t>
              </a:r>
              <a:r>
                <a:rPr lang="ru-RU" sz="2700" dirty="0">
                  <a:latin typeface="Arial" panose="020B0604020202020204" pitchFamily="34" charset="0"/>
                  <a:sym typeface="Roboto" pitchFamily="2" charset="0"/>
                </a:rPr>
                <a:t>на основании</a:t>
              </a:r>
            </a:p>
            <a:p>
              <a:pPr>
                <a:lnSpc>
                  <a:spcPct val="90000"/>
                </a:lnSpc>
              </a:pPr>
              <a:r>
                <a:rPr lang="ru-RU" sz="2700" dirty="0">
                  <a:latin typeface="Arial" panose="020B0604020202020204" pitchFamily="34" charset="0"/>
                  <a:sym typeface="Roboto" pitchFamily="2" charset="0"/>
                </a:rPr>
                <a:t>электронного реестра сделок участника биржевой </a:t>
              </a:r>
              <a:br>
                <a:rPr lang="ru-RU" sz="2700" dirty="0">
                  <a:latin typeface="Arial" panose="020B0604020202020204" pitchFamily="34" charset="0"/>
                  <a:sym typeface="Roboto" pitchFamily="2" charset="0"/>
                </a:rPr>
              </a:br>
              <a:r>
                <a:rPr lang="ru-RU" sz="2700" dirty="0">
                  <a:latin typeface="Arial" panose="020B0604020202020204" pitchFamily="34" charset="0"/>
                  <a:sym typeface="Roboto" pitchFamily="2" charset="0"/>
                </a:rPr>
                <a:t>торговли</a:t>
              </a:r>
              <a:r>
                <a:rPr lang="en-US" sz="2700" dirty="0">
                  <a:solidFill>
                    <a:srgbClr val="70AD47"/>
                  </a:solidFill>
                  <a:latin typeface="Arial" panose="020B0604020202020204" pitchFamily="34" charset="0"/>
                  <a:sym typeface="Roboto" pitchFamily="2" charset="0"/>
                </a:rPr>
                <a:t> </a:t>
              </a:r>
              <a:r>
                <a:rPr lang="ru-RU" sz="2700" dirty="0">
                  <a:solidFill>
                    <a:srgbClr val="649941"/>
                  </a:solidFill>
                  <a:latin typeface="Arial" panose="020B0604020202020204" pitchFamily="34" charset="0"/>
                  <a:sym typeface="Roboto" pitchFamily="2" charset="0"/>
                </a:rPr>
                <a:t>только в случае заключения сделки</a:t>
              </a:r>
            </a:p>
          </p:txBody>
        </p: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2DD52F1D-0F4D-4CFA-9771-A19D687660D4}"/>
                </a:ext>
              </a:extLst>
            </p:cNvPr>
            <p:cNvCxnSpPr>
              <a:cxnSpLocks/>
            </p:cNvCxnSpPr>
            <p:nvPr/>
          </p:nvCxnSpPr>
          <p:spPr>
            <a:xfrm>
              <a:off x="2593416" y="5085106"/>
              <a:ext cx="0" cy="1355039"/>
            </a:xfrm>
            <a:prstGeom prst="line">
              <a:avLst/>
            </a:prstGeom>
            <a:ln w="44450">
              <a:solidFill>
                <a:srgbClr val="70AD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658">
              <a:extLst>
                <a:ext uri="{FF2B5EF4-FFF2-40B4-BE49-F238E27FC236}">
                  <a16:creationId xmlns:a16="http://schemas.microsoft.com/office/drawing/2014/main" id="{A7DFFF70-2388-4C3F-8BC4-82F96CD23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03666" y="5420951"/>
              <a:ext cx="584037" cy="584037"/>
            </a:xfrm>
            <a:prstGeom prst="rect">
              <a:avLst/>
            </a:prstGeom>
          </p:spPr>
        </p:pic>
      </p:grpSp>
      <p:sp>
        <p:nvSpPr>
          <p:cNvPr id="43" name="Rectangle 3">
            <a:extLst>
              <a:ext uri="{FF2B5EF4-FFF2-40B4-BE49-F238E27FC236}">
                <a16:creationId xmlns:a16="http://schemas.microsoft.com/office/drawing/2014/main" id="{DCA7DCB4-2E92-49D0-82A5-F9B78FD369CA}"/>
              </a:ext>
            </a:extLst>
          </p:cNvPr>
          <p:cNvSpPr/>
          <p:nvPr/>
        </p:nvSpPr>
        <p:spPr>
          <a:xfrm rot="5400000">
            <a:off x="4121269" y="3603390"/>
            <a:ext cx="2193232" cy="338308"/>
          </a:xfrm>
          <a:custGeom>
            <a:avLst/>
            <a:gdLst/>
            <a:ahLst/>
            <a:cxnLst/>
            <a:rect l="l" t="t" r="r" b="b"/>
            <a:pathLst>
              <a:path w="1008112" h="256208">
                <a:moveTo>
                  <a:pt x="0" y="0"/>
                </a:moveTo>
                <a:lnTo>
                  <a:pt x="1008112" y="0"/>
                </a:lnTo>
                <a:lnTo>
                  <a:pt x="1008112" y="144016"/>
                </a:lnTo>
                <a:lnTo>
                  <a:pt x="569127" y="144016"/>
                </a:lnTo>
                <a:lnTo>
                  <a:pt x="504055" y="256208"/>
                </a:lnTo>
                <a:lnTo>
                  <a:pt x="438984" y="144016"/>
                </a:lnTo>
                <a:lnTo>
                  <a:pt x="0" y="144016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u="sng" dirty="0">
              <a:solidFill>
                <a:schemeClr val="accent1"/>
              </a:solidFill>
            </a:endParaRP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4522751E-B162-4AD2-9333-643ACC1C9D25}"/>
              </a:ext>
            </a:extLst>
          </p:cNvPr>
          <p:cNvSpPr/>
          <p:nvPr/>
        </p:nvSpPr>
        <p:spPr>
          <a:xfrm rot="5400000">
            <a:off x="6763808" y="979190"/>
            <a:ext cx="1065233" cy="284682"/>
          </a:xfrm>
          <a:custGeom>
            <a:avLst/>
            <a:gdLst/>
            <a:ahLst/>
            <a:cxnLst/>
            <a:rect l="l" t="t" r="r" b="b"/>
            <a:pathLst>
              <a:path w="1008112" h="256208">
                <a:moveTo>
                  <a:pt x="0" y="0"/>
                </a:moveTo>
                <a:lnTo>
                  <a:pt x="1008112" y="0"/>
                </a:lnTo>
                <a:lnTo>
                  <a:pt x="1008112" y="144016"/>
                </a:lnTo>
                <a:lnTo>
                  <a:pt x="569127" y="144016"/>
                </a:lnTo>
                <a:lnTo>
                  <a:pt x="504055" y="256208"/>
                </a:lnTo>
                <a:lnTo>
                  <a:pt x="438984" y="144016"/>
                </a:lnTo>
                <a:lnTo>
                  <a:pt x="0" y="144016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u="sng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2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"/>
          <p:cNvSpPr>
            <a:spLocks noEditPoints="1"/>
          </p:cNvSpPr>
          <p:nvPr/>
        </p:nvSpPr>
        <p:spPr bwMode="auto">
          <a:xfrm>
            <a:off x="4164040" y="5104822"/>
            <a:ext cx="7044528" cy="875130"/>
          </a:xfrm>
          <a:custGeom>
            <a:avLst/>
            <a:gdLst>
              <a:gd name="T0" fmla="*/ 894 w 11868"/>
              <a:gd name="T1" fmla="*/ 1344 h 1344"/>
              <a:gd name="T2" fmla="*/ 827 w 11868"/>
              <a:gd name="T3" fmla="*/ 1344 h 1344"/>
              <a:gd name="T4" fmla="*/ 536 w 11868"/>
              <a:gd name="T5" fmla="*/ 1344 h 1344"/>
              <a:gd name="T6" fmla="*/ 536 w 11868"/>
              <a:gd name="T7" fmla="*/ 1084 h 1344"/>
              <a:gd name="T8" fmla="*/ 0 w 11868"/>
              <a:gd name="T9" fmla="*/ 1084 h 1344"/>
              <a:gd name="T10" fmla="*/ 0 w 11868"/>
              <a:gd name="T11" fmla="*/ 818 h 1344"/>
              <a:gd name="T12" fmla="*/ 559 w 11868"/>
              <a:gd name="T13" fmla="*/ 0 h 1344"/>
              <a:gd name="T14" fmla="*/ 827 w 11868"/>
              <a:gd name="T15" fmla="*/ 0 h 1344"/>
              <a:gd name="T16" fmla="*/ 894 w 11868"/>
              <a:gd name="T17" fmla="*/ 0 h 1344"/>
              <a:gd name="T18" fmla="*/ 11868 w 11868"/>
              <a:gd name="T19" fmla="*/ 0 h 1344"/>
              <a:gd name="T20" fmla="*/ 11868 w 11868"/>
              <a:gd name="T21" fmla="*/ 1344 h 1344"/>
              <a:gd name="T22" fmla="*/ 894 w 11868"/>
              <a:gd name="T23" fmla="*/ 1344 h 1344"/>
              <a:gd name="T24" fmla="*/ 536 w 11868"/>
              <a:gd name="T25" fmla="*/ 813 h 1344"/>
              <a:gd name="T26" fmla="*/ 536 w 11868"/>
              <a:gd name="T27" fmla="*/ 657 h 1344"/>
              <a:gd name="T28" fmla="*/ 536 w 11868"/>
              <a:gd name="T29" fmla="*/ 633 h 1344"/>
              <a:gd name="T30" fmla="*/ 536 w 11868"/>
              <a:gd name="T31" fmla="*/ 605 h 1344"/>
              <a:gd name="T32" fmla="*/ 537 w 11868"/>
              <a:gd name="T33" fmla="*/ 573 h 1344"/>
              <a:gd name="T34" fmla="*/ 539 w 11868"/>
              <a:gd name="T35" fmla="*/ 537 h 1344"/>
              <a:gd name="T36" fmla="*/ 540 w 11868"/>
              <a:gd name="T37" fmla="*/ 504 h 1344"/>
              <a:gd name="T38" fmla="*/ 541 w 11868"/>
              <a:gd name="T39" fmla="*/ 480 h 1344"/>
              <a:gd name="T40" fmla="*/ 543 w 11868"/>
              <a:gd name="T41" fmla="*/ 465 h 1344"/>
              <a:gd name="T42" fmla="*/ 544 w 11868"/>
              <a:gd name="T43" fmla="*/ 458 h 1344"/>
              <a:gd name="T44" fmla="*/ 534 w 11868"/>
              <a:gd name="T45" fmla="*/ 458 h 1344"/>
              <a:gd name="T46" fmla="*/ 518 w 11868"/>
              <a:gd name="T47" fmla="*/ 494 h 1344"/>
              <a:gd name="T48" fmla="*/ 501 w 11868"/>
              <a:gd name="T49" fmla="*/ 527 h 1344"/>
              <a:gd name="T50" fmla="*/ 482 w 11868"/>
              <a:gd name="T51" fmla="*/ 560 h 1344"/>
              <a:gd name="T52" fmla="*/ 464 w 11868"/>
              <a:gd name="T53" fmla="*/ 591 h 1344"/>
              <a:gd name="T54" fmla="*/ 314 w 11868"/>
              <a:gd name="T55" fmla="*/ 813 h 1344"/>
              <a:gd name="T56" fmla="*/ 536 w 11868"/>
              <a:gd name="T57" fmla="*/ 813 h 1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868" h="1344">
                <a:moveTo>
                  <a:pt x="894" y="1344"/>
                </a:moveTo>
                <a:lnTo>
                  <a:pt x="827" y="1344"/>
                </a:lnTo>
                <a:lnTo>
                  <a:pt x="536" y="1344"/>
                </a:lnTo>
                <a:lnTo>
                  <a:pt x="536" y="1084"/>
                </a:lnTo>
                <a:lnTo>
                  <a:pt x="0" y="1084"/>
                </a:lnTo>
                <a:lnTo>
                  <a:pt x="0" y="818"/>
                </a:lnTo>
                <a:lnTo>
                  <a:pt x="559" y="0"/>
                </a:lnTo>
                <a:lnTo>
                  <a:pt x="827" y="0"/>
                </a:lnTo>
                <a:lnTo>
                  <a:pt x="894" y="0"/>
                </a:lnTo>
                <a:lnTo>
                  <a:pt x="11868" y="0"/>
                </a:lnTo>
                <a:lnTo>
                  <a:pt x="11868" y="1344"/>
                </a:lnTo>
                <a:lnTo>
                  <a:pt x="894" y="1344"/>
                </a:lnTo>
                <a:close/>
                <a:moveTo>
                  <a:pt x="536" y="813"/>
                </a:moveTo>
                <a:lnTo>
                  <a:pt x="536" y="657"/>
                </a:lnTo>
                <a:lnTo>
                  <a:pt x="536" y="633"/>
                </a:lnTo>
                <a:lnTo>
                  <a:pt x="536" y="605"/>
                </a:lnTo>
                <a:lnTo>
                  <a:pt x="537" y="573"/>
                </a:lnTo>
                <a:lnTo>
                  <a:pt x="539" y="537"/>
                </a:lnTo>
                <a:lnTo>
                  <a:pt x="540" y="504"/>
                </a:lnTo>
                <a:lnTo>
                  <a:pt x="541" y="480"/>
                </a:lnTo>
                <a:lnTo>
                  <a:pt x="543" y="465"/>
                </a:lnTo>
                <a:lnTo>
                  <a:pt x="544" y="458"/>
                </a:lnTo>
                <a:lnTo>
                  <a:pt x="534" y="458"/>
                </a:lnTo>
                <a:lnTo>
                  <a:pt x="518" y="494"/>
                </a:lnTo>
                <a:lnTo>
                  <a:pt x="501" y="527"/>
                </a:lnTo>
                <a:lnTo>
                  <a:pt x="482" y="560"/>
                </a:lnTo>
                <a:lnTo>
                  <a:pt x="464" y="591"/>
                </a:lnTo>
                <a:lnTo>
                  <a:pt x="314" y="813"/>
                </a:lnTo>
                <a:lnTo>
                  <a:pt x="536" y="81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>
            <a:off x="4178747" y="3980838"/>
            <a:ext cx="7025534" cy="901176"/>
          </a:xfrm>
          <a:custGeom>
            <a:avLst/>
            <a:gdLst>
              <a:gd name="T0" fmla="*/ 434 w 11836"/>
              <a:gd name="T1" fmla="*/ 1381 h 1382"/>
              <a:gd name="T2" fmla="*/ 374 w 11836"/>
              <a:gd name="T3" fmla="*/ 1381 h 1382"/>
              <a:gd name="T4" fmla="*/ 296 w 11836"/>
              <a:gd name="T5" fmla="*/ 1378 h 1382"/>
              <a:gd name="T6" fmla="*/ 224 w 11836"/>
              <a:gd name="T7" fmla="*/ 1370 h 1382"/>
              <a:gd name="T8" fmla="*/ 153 w 11836"/>
              <a:gd name="T9" fmla="*/ 1357 h 1382"/>
              <a:gd name="T10" fmla="*/ 78 w 11836"/>
              <a:gd name="T11" fmla="*/ 1336 h 1382"/>
              <a:gd name="T12" fmla="*/ 0 w 11836"/>
              <a:gd name="T13" fmla="*/ 1309 h 1382"/>
              <a:gd name="T14" fmla="*/ 45 w 11836"/>
              <a:gd name="T15" fmla="*/ 1029 h 1382"/>
              <a:gd name="T16" fmla="*/ 111 w 11836"/>
              <a:gd name="T17" fmla="*/ 1055 h 1382"/>
              <a:gd name="T18" fmla="*/ 180 w 11836"/>
              <a:gd name="T19" fmla="*/ 1075 h 1382"/>
              <a:gd name="T20" fmla="*/ 247 w 11836"/>
              <a:gd name="T21" fmla="*/ 1087 h 1382"/>
              <a:gd name="T22" fmla="*/ 309 w 11836"/>
              <a:gd name="T23" fmla="*/ 1094 h 1382"/>
              <a:gd name="T24" fmla="*/ 377 w 11836"/>
              <a:gd name="T25" fmla="*/ 1095 h 1382"/>
              <a:gd name="T26" fmla="*/ 451 w 11836"/>
              <a:gd name="T27" fmla="*/ 1087 h 1382"/>
              <a:gd name="T28" fmla="*/ 508 w 11836"/>
              <a:gd name="T29" fmla="*/ 1070 h 1382"/>
              <a:gd name="T30" fmla="*/ 547 w 11836"/>
              <a:gd name="T31" fmla="*/ 1043 h 1382"/>
              <a:gd name="T32" fmla="*/ 560 w 11836"/>
              <a:gd name="T33" fmla="*/ 1026 h 1382"/>
              <a:gd name="T34" fmla="*/ 574 w 11836"/>
              <a:gd name="T35" fmla="*/ 990 h 1382"/>
              <a:gd name="T36" fmla="*/ 577 w 11836"/>
              <a:gd name="T37" fmla="*/ 944 h 1382"/>
              <a:gd name="T38" fmla="*/ 570 w 11836"/>
              <a:gd name="T39" fmla="*/ 908 h 1382"/>
              <a:gd name="T40" fmla="*/ 555 w 11836"/>
              <a:gd name="T41" fmla="*/ 879 h 1382"/>
              <a:gd name="T42" fmla="*/ 532 w 11836"/>
              <a:gd name="T43" fmla="*/ 857 h 1382"/>
              <a:gd name="T44" fmla="*/ 499 w 11836"/>
              <a:gd name="T45" fmla="*/ 841 h 1382"/>
              <a:gd name="T46" fmla="*/ 456 w 11836"/>
              <a:gd name="T47" fmla="*/ 826 h 1382"/>
              <a:gd name="T48" fmla="*/ 403 w 11836"/>
              <a:gd name="T49" fmla="*/ 818 h 1382"/>
              <a:gd name="T50" fmla="*/ 340 w 11836"/>
              <a:gd name="T51" fmla="*/ 813 h 1382"/>
              <a:gd name="T52" fmla="*/ 209 w 11836"/>
              <a:gd name="T53" fmla="*/ 812 h 1382"/>
              <a:gd name="T54" fmla="*/ 327 w 11836"/>
              <a:gd name="T55" fmla="*/ 538 h 1382"/>
              <a:gd name="T56" fmla="*/ 414 w 11836"/>
              <a:gd name="T57" fmla="*/ 530 h 1382"/>
              <a:gd name="T58" fmla="*/ 482 w 11836"/>
              <a:gd name="T59" fmla="*/ 511 h 1382"/>
              <a:gd name="T60" fmla="*/ 517 w 11836"/>
              <a:gd name="T61" fmla="*/ 494 h 1382"/>
              <a:gd name="T62" fmla="*/ 538 w 11836"/>
              <a:gd name="T63" fmla="*/ 478 h 1382"/>
              <a:gd name="T64" fmla="*/ 553 w 11836"/>
              <a:gd name="T65" fmla="*/ 459 h 1382"/>
              <a:gd name="T66" fmla="*/ 564 w 11836"/>
              <a:gd name="T67" fmla="*/ 438 h 1382"/>
              <a:gd name="T68" fmla="*/ 569 w 11836"/>
              <a:gd name="T69" fmla="*/ 414 h 1382"/>
              <a:gd name="T70" fmla="*/ 570 w 11836"/>
              <a:gd name="T71" fmla="*/ 385 h 1382"/>
              <a:gd name="T72" fmla="*/ 559 w 11836"/>
              <a:gd name="T73" fmla="*/ 350 h 1382"/>
              <a:gd name="T74" fmla="*/ 539 w 11836"/>
              <a:gd name="T75" fmla="*/ 324 h 1382"/>
              <a:gd name="T76" fmla="*/ 507 w 11836"/>
              <a:gd name="T77" fmla="*/ 307 h 1382"/>
              <a:gd name="T78" fmla="*/ 467 w 11836"/>
              <a:gd name="T79" fmla="*/ 296 h 1382"/>
              <a:gd name="T80" fmla="*/ 419 w 11836"/>
              <a:gd name="T81" fmla="*/ 292 h 1382"/>
              <a:gd name="T82" fmla="*/ 370 w 11836"/>
              <a:gd name="T83" fmla="*/ 295 h 1382"/>
              <a:gd name="T84" fmla="*/ 321 w 11836"/>
              <a:gd name="T85" fmla="*/ 305 h 1382"/>
              <a:gd name="T86" fmla="*/ 271 w 11836"/>
              <a:gd name="T87" fmla="*/ 319 h 1382"/>
              <a:gd name="T88" fmla="*/ 222 w 11836"/>
              <a:gd name="T89" fmla="*/ 341 h 1382"/>
              <a:gd name="T90" fmla="*/ 170 w 11836"/>
              <a:gd name="T91" fmla="*/ 368 h 1382"/>
              <a:gd name="T92" fmla="*/ 28 w 11836"/>
              <a:gd name="T93" fmla="*/ 119 h 1382"/>
              <a:gd name="T94" fmla="*/ 109 w 11836"/>
              <a:gd name="T95" fmla="*/ 74 h 1382"/>
              <a:gd name="T96" fmla="*/ 192 w 11836"/>
              <a:gd name="T97" fmla="*/ 40 h 1382"/>
              <a:gd name="T98" fmla="*/ 278 w 11836"/>
              <a:gd name="T99" fmla="*/ 18 h 1382"/>
              <a:gd name="T100" fmla="*/ 372 w 11836"/>
              <a:gd name="T101" fmla="*/ 5 h 1382"/>
              <a:gd name="T102" fmla="*/ 476 w 11836"/>
              <a:gd name="T103" fmla="*/ 0 h 1382"/>
              <a:gd name="T104" fmla="*/ 465 w 11836"/>
              <a:gd name="T105" fmla="*/ 1380 h 1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836" h="1382">
                <a:moveTo>
                  <a:pt x="465" y="1380"/>
                </a:moveTo>
                <a:lnTo>
                  <a:pt x="449" y="1381"/>
                </a:lnTo>
                <a:lnTo>
                  <a:pt x="434" y="1381"/>
                </a:lnTo>
                <a:lnTo>
                  <a:pt x="417" y="1382"/>
                </a:lnTo>
                <a:lnTo>
                  <a:pt x="401" y="1382"/>
                </a:lnTo>
                <a:lnTo>
                  <a:pt x="374" y="1381"/>
                </a:lnTo>
                <a:lnTo>
                  <a:pt x="347" y="1381"/>
                </a:lnTo>
                <a:lnTo>
                  <a:pt x="321" y="1380"/>
                </a:lnTo>
                <a:lnTo>
                  <a:pt x="296" y="1378"/>
                </a:lnTo>
                <a:lnTo>
                  <a:pt x="271" y="1376"/>
                </a:lnTo>
                <a:lnTo>
                  <a:pt x="248" y="1373"/>
                </a:lnTo>
                <a:lnTo>
                  <a:pt x="224" y="1370"/>
                </a:lnTo>
                <a:lnTo>
                  <a:pt x="200" y="1366"/>
                </a:lnTo>
                <a:lnTo>
                  <a:pt x="177" y="1361"/>
                </a:lnTo>
                <a:lnTo>
                  <a:pt x="153" y="1357"/>
                </a:lnTo>
                <a:lnTo>
                  <a:pt x="128" y="1351"/>
                </a:lnTo>
                <a:lnTo>
                  <a:pt x="104" y="1344"/>
                </a:lnTo>
                <a:lnTo>
                  <a:pt x="78" y="1336"/>
                </a:lnTo>
                <a:lnTo>
                  <a:pt x="53" y="1328"/>
                </a:lnTo>
                <a:lnTo>
                  <a:pt x="26" y="1319"/>
                </a:lnTo>
                <a:lnTo>
                  <a:pt x="0" y="1309"/>
                </a:lnTo>
                <a:lnTo>
                  <a:pt x="0" y="1008"/>
                </a:lnTo>
                <a:lnTo>
                  <a:pt x="22" y="1018"/>
                </a:lnTo>
                <a:lnTo>
                  <a:pt x="45" y="1029"/>
                </a:lnTo>
                <a:lnTo>
                  <a:pt x="67" y="1038"/>
                </a:lnTo>
                <a:lnTo>
                  <a:pt x="90" y="1046"/>
                </a:lnTo>
                <a:lnTo>
                  <a:pt x="111" y="1055"/>
                </a:lnTo>
                <a:lnTo>
                  <a:pt x="134" y="1062"/>
                </a:lnTo>
                <a:lnTo>
                  <a:pt x="157" y="1068"/>
                </a:lnTo>
                <a:lnTo>
                  <a:pt x="180" y="1075"/>
                </a:lnTo>
                <a:lnTo>
                  <a:pt x="203" y="1079"/>
                </a:lnTo>
                <a:lnTo>
                  <a:pt x="225" y="1084"/>
                </a:lnTo>
                <a:lnTo>
                  <a:pt x="247" y="1087"/>
                </a:lnTo>
                <a:lnTo>
                  <a:pt x="267" y="1090"/>
                </a:lnTo>
                <a:lnTo>
                  <a:pt x="288" y="1092"/>
                </a:lnTo>
                <a:lnTo>
                  <a:pt x="309" y="1094"/>
                </a:lnTo>
                <a:lnTo>
                  <a:pt x="329" y="1095"/>
                </a:lnTo>
                <a:lnTo>
                  <a:pt x="348" y="1095"/>
                </a:lnTo>
                <a:lnTo>
                  <a:pt x="377" y="1095"/>
                </a:lnTo>
                <a:lnTo>
                  <a:pt x="405" y="1093"/>
                </a:lnTo>
                <a:lnTo>
                  <a:pt x="429" y="1091"/>
                </a:lnTo>
                <a:lnTo>
                  <a:pt x="451" y="1087"/>
                </a:lnTo>
                <a:lnTo>
                  <a:pt x="472" y="1083"/>
                </a:lnTo>
                <a:lnTo>
                  <a:pt x="491" y="1077"/>
                </a:lnTo>
                <a:lnTo>
                  <a:pt x="508" y="1070"/>
                </a:lnTo>
                <a:lnTo>
                  <a:pt x="523" y="1062"/>
                </a:lnTo>
                <a:lnTo>
                  <a:pt x="535" y="1053"/>
                </a:lnTo>
                <a:lnTo>
                  <a:pt x="547" y="1043"/>
                </a:lnTo>
                <a:lnTo>
                  <a:pt x="551" y="1037"/>
                </a:lnTo>
                <a:lnTo>
                  <a:pt x="556" y="1032"/>
                </a:lnTo>
                <a:lnTo>
                  <a:pt x="560" y="1026"/>
                </a:lnTo>
                <a:lnTo>
                  <a:pt x="564" y="1019"/>
                </a:lnTo>
                <a:lnTo>
                  <a:pt x="570" y="1005"/>
                </a:lnTo>
                <a:lnTo>
                  <a:pt x="574" y="990"/>
                </a:lnTo>
                <a:lnTo>
                  <a:pt x="576" y="974"/>
                </a:lnTo>
                <a:lnTo>
                  <a:pt x="577" y="957"/>
                </a:lnTo>
                <a:lnTo>
                  <a:pt x="577" y="944"/>
                </a:lnTo>
                <a:lnTo>
                  <a:pt x="575" y="931"/>
                </a:lnTo>
                <a:lnTo>
                  <a:pt x="573" y="919"/>
                </a:lnTo>
                <a:lnTo>
                  <a:pt x="570" y="908"/>
                </a:lnTo>
                <a:lnTo>
                  <a:pt x="567" y="898"/>
                </a:lnTo>
                <a:lnTo>
                  <a:pt x="561" y="889"/>
                </a:lnTo>
                <a:lnTo>
                  <a:pt x="555" y="879"/>
                </a:lnTo>
                <a:lnTo>
                  <a:pt x="549" y="872"/>
                </a:lnTo>
                <a:lnTo>
                  <a:pt x="542" y="865"/>
                </a:lnTo>
                <a:lnTo>
                  <a:pt x="532" y="857"/>
                </a:lnTo>
                <a:lnTo>
                  <a:pt x="523" y="851"/>
                </a:lnTo>
                <a:lnTo>
                  <a:pt x="512" y="846"/>
                </a:lnTo>
                <a:lnTo>
                  <a:pt x="499" y="841"/>
                </a:lnTo>
                <a:lnTo>
                  <a:pt x="487" y="836"/>
                </a:lnTo>
                <a:lnTo>
                  <a:pt x="472" y="830"/>
                </a:lnTo>
                <a:lnTo>
                  <a:pt x="456" y="826"/>
                </a:lnTo>
                <a:lnTo>
                  <a:pt x="440" y="823"/>
                </a:lnTo>
                <a:lnTo>
                  <a:pt x="423" y="820"/>
                </a:lnTo>
                <a:lnTo>
                  <a:pt x="403" y="818"/>
                </a:lnTo>
                <a:lnTo>
                  <a:pt x="384" y="816"/>
                </a:lnTo>
                <a:lnTo>
                  <a:pt x="363" y="814"/>
                </a:lnTo>
                <a:lnTo>
                  <a:pt x="340" y="813"/>
                </a:lnTo>
                <a:lnTo>
                  <a:pt x="316" y="812"/>
                </a:lnTo>
                <a:lnTo>
                  <a:pt x="291" y="812"/>
                </a:lnTo>
                <a:lnTo>
                  <a:pt x="209" y="812"/>
                </a:lnTo>
                <a:lnTo>
                  <a:pt x="209" y="538"/>
                </a:lnTo>
                <a:lnTo>
                  <a:pt x="293" y="538"/>
                </a:lnTo>
                <a:lnTo>
                  <a:pt x="327" y="538"/>
                </a:lnTo>
                <a:lnTo>
                  <a:pt x="358" y="536"/>
                </a:lnTo>
                <a:lnTo>
                  <a:pt x="387" y="534"/>
                </a:lnTo>
                <a:lnTo>
                  <a:pt x="414" y="530"/>
                </a:lnTo>
                <a:lnTo>
                  <a:pt x="439" y="525"/>
                </a:lnTo>
                <a:lnTo>
                  <a:pt x="462" y="519"/>
                </a:lnTo>
                <a:lnTo>
                  <a:pt x="482" y="511"/>
                </a:lnTo>
                <a:lnTo>
                  <a:pt x="501" y="503"/>
                </a:lnTo>
                <a:lnTo>
                  <a:pt x="509" y="499"/>
                </a:lnTo>
                <a:lnTo>
                  <a:pt x="517" y="494"/>
                </a:lnTo>
                <a:lnTo>
                  <a:pt x="524" y="489"/>
                </a:lnTo>
                <a:lnTo>
                  <a:pt x="531" y="483"/>
                </a:lnTo>
                <a:lnTo>
                  <a:pt x="538" y="478"/>
                </a:lnTo>
                <a:lnTo>
                  <a:pt x="543" y="472"/>
                </a:lnTo>
                <a:lnTo>
                  <a:pt x="548" y="466"/>
                </a:lnTo>
                <a:lnTo>
                  <a:pt x="553" y="459"/>
                </a:lnTo>
                <a:lnTo>
                  <a:pt x="556" y="452"/>
                </a:lnTo>
                <a:lnTo>
                  <a:pt x="560" y="445"/>
                </a:lnTo>
                <a:lnTo>
                  <a:pt x="564" y="438"/>
                </a:lnTo>
                <a:lnTo>
                  <a:pt x="566" y="430"/>
                </a:lnTo>
                <a:lnTo>
                  <a:pt x="568" y="422"/>
                </a:lnTo>
                <a:lnTo>
                  <a:pt x="569" y="414"/>
                </a:lnTo>
                <a:lnTo>
                  <a:pt x="570" y="405"/>
                </a:lnTo>
                <a:lnTo>
                  <a:pt x="570" y="397"/>
                </a:lnTo>
                <a:lnTo>
                  <a:pt x="570" y="385"/>
                </a:lnTo>
                <a:lnTo>
                  <a:pt x="568" y="372"/>
                </a:lnTo>
                <a:lnTo>
                  <a:pt x="565" y="361"/>
                </a:lnTo>
                <a:lnTo>
                  <a:pt x="559" y="350"/>
                </a:lnTo>
                <a:lnTo>
                  <a:pt x="554" y="341"/>
                </a:lnTo>
                <a:lnTo>
                  <a:pt x="547" y="333"/>
                </a:lnTo>
                <a:lnTo>
                  <a:pt x="539" y="324"/>
                </a:lnTo>
                <a:lnTo>
                  <a:pt x="529" y="318"/>
                </a:lnTo>
                <a:lnTo>
                  <a:pt x="519" y="312"/>
                </a:lnTo>
                <a:lnTo>
                  <a:pt x="507" y="307"/>
                </a:lnTo>
                <a:lnTo>
                  <a:pt x="495" y="303"/>
                </a:lnTo>
                <a:lnTo>
                  <a:pt x="481" y="298"/>
                </a:lnTo>
                <a:lnTo>
                  <a:pt x="467" y="296"/>
                </a:lnTo>
                <a:lnTo>
                  <a:pt x="452" y="294"/>
                </a:lnTo>
                <a:lnTo>
                  <a:pt x="436" y="292"/>
                </a:lnTo>
                <a:lnTo>
                  <a:pt x="419" y="292"/>
                </a:lnTo>
                <a:lnTo>
                  <a:pt x="403" y="292"/>
                </a:lnTo>
                <a:lnTo>
                  <a:pt x="387" y="293"/>
                </a:lnTo>
                <a:lnTo>
                  <a:pt x="370" y="295"/>
                </a:lnTo>
                <a:lnTo>
                  <a:pt x="355" y="297"/>
                </a:lnTo>
                <a:lnTo>
                  <a:pt x="338" y="300"/>
                </a:lnTo>
                <a:lnTo>
                  <a:pt x="321" y="305"/>
                </a:lnTo>
                <a:lnTo>
                  <a:pt x="305" y="309"/>
                </a:lnTo>
                <a:lnTo>
                  <a:pt x="288" y="314"/>
                </a:lnTo>
                <a:lnTo>
                  <a:pt x="271" y="319"/>
                </a:lnTo>
                <a:lnTo>
                  <a:pt x="255" y="326"/>
                </a:lnTo>
                <a:lnTo>
                  <a:pt x="238" y="333"/>
                </a:lnTo>
                <a:lnTo>
                  <a:pt x="222" y="341"/>
                </a:lnTo>
                <a:lnTo>
                  <a:pt x="204" y="349"/>
                </a:lnTo>
                <a:lnTo>
                  <a:pt x="187" y="359"/>
                </a:lnTo>
                <a:lnTo>
                  <a:pt x="170" y="368"/>
                </a:lnTo>
                <a:lnTo>
                  <a:pt x="153" y="378"/>
                </a:lnTo>
                <a:lnTo>
                  <a:pt x="2" y="136"/>
                </a:lnTo>
                <a:lnTo>
                  <a:pt x="28" y="119"/>
                </a:lnTo>
                <a:lnTo>
                  <a:pt x="55" y="102"/>
                </a:lnTo>
                <a:lnTo>
                  <a:pt x="82" y="87"/>
                </a:lnTo>
                <a:lnTo>
                  <a:pt x="109" y="74"/>
                </a:lnTo>
                <a:lnTo>
                  <a:pt x="137" y="61"/>
                </a:lnTo>
                <a:lnTo>
                  <a:pt x="164" y="50"/>
                </a:lnTo>
                <a:lnTo>
                  <a:pt x="192" y="40"/>
                </a:lnTo>
                <a:lnTo>
                  <a:pt x="221" y="31"/>
                </a:lnTo>
                <a:lnTo>
                  <a:pt x="249" y="24"/>
                </a:lnTo>
                <a:lnTo>
                  <a:pt x="278" y="18"/>
                </a:lnTo>
                <a:lnTo>
                  <a:pt x="309" y="13"/>
                </a:lnTo>
                <a:lnTo>
                  <a:pt x="340" y="9"/>
                </a:lnTo>
                <a:lnTo>
                  <a:pt x="372" y="5"/>
                </a:lnTo>
                <a:lnTo>
                  <a:pt x="406" y="2"/>
                </a:lnTo>
                <a:lnTo>
                  <a:pt x="441" y="1"/>
                </a:lnTo>
                <a:lnTo>
                  <a:pt x="476" y="0"/>
                </a:lnTo>
                <a:lnTo>
                  <a:pt x="11836" y="0"/>
                </a:lnTo>
                <a:lnTo>
                  <a:pt x="11836" y="1380"/>
                </a:lnTo>
                <a:lnTo>
                  <a:pt x="465" y="13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829544">
              <a:lnSpc>
                <a:spcPct val="90000"/>
              </a:lnSpc>
              <a:spcBef>
                <a:spcPct val="0"/>
              </a:spcBef>
            </a:pPr>
            <a:endParaRPr lang="ru-RU" sz="29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" name="Freeform 13"/>
          <p:cNvSpPr>
            <a:spLocks/>
          </p:cNvSpPr>
          <p:nvPr/>
        </p:nvSpPr>
        <p:spPr bwMode="auto">
          <a:xfrm>
            <a:off x="4164041" y="2869876"/>
            <a:ext cx="7039779" cy="888153"/>
          </a:xfrm>
          <a:custGeom>
            <a:avLst/>
            <a:gdLst>
              <a:gd name="T0" fmla="*/ 11859 w 11859"/>
              <a:gd name="T1" fmla="*/ 1362 h 1362"/>
              <a:gd name="T2" fmla="*/ 728 w 11859"/>
              <a:gd name="T3" fmla="*/ 1362 h 1362"/>
              <a:gd name="T4" fmla="*/ 15 w 11859"/>
              <a:gd name="T5" fmla="*/ 1123 h 1362"/>
              <a:gd name="T6" fmla="*/ 377 w 11859"/>
              <a:gd name="T7" fmla="*/ 756 h 1362"/>
              <a:gd name="T8" fmla="*/ 435 w 11859"/>
              <a:gd name="T9" fmla="*/ 695 h 1362"/>
              <a:gd name="T10" fmla="*/ 481 w 11859"/>
              <a:gd name="T11" fmla="*/ 644 h 1362"/>
              <a:gd name="T12" fmla="*/ 515 w 11859"/>
              <a:gd name="T13" fmla="*/ 606 h 1362"/>
              <a:gd name="T14" fmla="*/ 547 w 11859"/>
              <a:gd name="T15" fmla="*/ 565 h 1362"/>
              <a:gd name="T16" fmla="*/ 577 w 11859"/>
              <a:gd name="T17" fmla="*/ 519 h 1362"/>
              <a:gd name="T18" fmla="*/ 591 w 11859"/>
              <a:gd name="T19" fmla="*/ 488 h 1362"/>
              <a:gd name="T20" fmla="*/ 597 w 11859"/>
              <a:gd name="T21" fmla="*/ 469 h 1362"/>
              <a:gd name="T22" fmla="*/ 601 w 11859"/>
              <a:gd name="T23" fmla="*/ 449 h 1362"/>
              <a:gd name="T24" fmla="*/ 604 w 11859"/>
              <a:gd name="T25" fmla="*/ 428 h 1362"/>
              <a:gd name="T26" fmla="*/ 603 w 11859"/>
              <a:gd name="T27" fmla="*/ 405 h 1362"/>
              <a:gd name="T28" fmla="*/ 599 w 11859"/>
              <a:gd name="T29" fmla="*/ 381 h 1362"/>
              <a:gd name="T30" fmla="*/ 591 w 11859"/>
              <a:gd name="T31" fmla="*/ 361 h 1362"/>
              <a:gd name="T32" fmla="*/ 578 w 11859"/>
              <a:gd name="T33" fmla="*/ 343 h 1362"/>
              <a:gd name="T34" fmla="*/ 562 w 11859"/>
              <a:gd name="T35" fmla="*/ 328 h 1362"/>
              <a:gd name="T36" fmla="*/ 541 w 11859"/>
              <a:gd name="T37" fmla="*/ 317 h 1362"/>
              <a:gd name="T38" fmla="*/ 517 w 11859"/>
              <a:gd name="T39" fmla="*/ 309 h 1362"/>
              <a:gd name="T40" fmla="*/ 490 w 11859"/>
              <a:gd name="T41" fmla="*/ 306 h 1362"/>
              <a:gd name="T42" fmla="*/ 459 w 11859"/>
              <a:gd name="T43" fmla="*/ 306 h 1362"/>
              <a:gd name="T44" fmla="*/ 426 w 11859"/>
              <a:gd name="T45" fmla="*/ 310 h 1362"/>
              <a:gd name="T46" fmla="*/ 394 w 11859"/>
              <a:gd name="T47" fmla="*/ 319 h 1362"/>
              <a:gd name="T48" fmla="*/ 362 w 11859"/>
              <a:gd name="T49" fmla="*/ 333 h 1362"/>
              <a:gd name="T50" fmla="*/ 330 w 11859"/>
              <a:gd name="T51" fmla="*/ 350 h 1362"/>
              <a:gd name="T52" fmla="*/ 296 w 11859"/>
              <a:gd name="T53" fmla="*/ 373 h 1362"/>
              <a:gd name="T54" fmla="*/ 239 w 11859"/>
              <a:gd name="T55" fmla="*/ 415 h 1362"/>
              <a:gd name="T56" fmla="*/ 0 w 11859"/>
              <a:gd name="T57" fmla="*/ 215 h 1362"/>
              <a:gd name="T58" fmla="*/ 50 w 11859"/>
              <a:gd name="T59" fmla="*/ 171 h 1362"/>
              <a:gd name="T60" fmla="*/ 96 w 11859"/>
              <a:gd name="T61" fmla="*/ 135 h 1362"/>
              <a:gd name="T62" fmla="*/ 138 w 11859"/>
              <a:gd name="T63" fmla="*/ 105 h 1362"/>
              <a:gd name="T64" fmla="*/ 175 w 11859"/>
              <a:gd name="T65" fmla="*/ 82 h 1362"/>
              <a:gd name="T66" fmla="*/ 211 w 11859"/>
              <a:gd name="T67" fmla="*/ 63 h 1362"/>
              <a:gd name="T68" fmla="*/ 249 w 11859"/>
              <a:gd name="T69" fmla="*/ 47 h 1362"/>
              <a:gd name="T70" fmla="*/ 288 w 11859"/>
              <a:gd name="T71" fmla="*/ 32 h 1362"/>
              <a:gd name="T72" fmla="*/ 329 w 11859"/>
              <a:gd name="T73" fmla="*/ 21 h 1362"/>
              <a:gd name="T74" fmla="*/ 370 w 11859"/>
              <a:gd name="T75" fmla="*/ 11 h 1362"/>
              <a:gd name="T76" fmla="*/ 415 w 11859"/>
              <a:gd name="T77" fmla="*/ 5 h 1362"/>
              <a:gd name="T78" fmla="*/ 462 w 11859"/>
              <a:gd name="T79" fmla="*/ 1 h 1362"/>
              <a:gd name="T80" fmla="*/ 511 w 11859"/>
              <a:gd name="T81" fmla="*/ 0 h 1362"/>
              <a:gd name="T82" fmla="*/ 516 w 11859"/>
              <a:gd name="T83" fmla="*/ 0 h 1362"/>
              <a:gd name="T84" fmla="*/ 1933 w 11859"/>
              <a:gd name="T85" fmla="*/ 0 h 1362"/>
              <a:gd name="T86" fmla="*/ 3351 w 11859"/>
              <a:gd name="T87" fmla="*/ 0 h 1362"/>
              <a:gd name="T88" fmla="*/ 4770 w 11859"/>
              <a:gd name="T89" fmla="*/ 0 h 1362"/>
              <a:gd name="T90" fmla="*/ 6187 w 11859"/>
              <a:gd name="T91" fmla="*/ 0 h 1362"/>
              <a:gd name="T92" fmla="*/ 7605 w 11859"/>
              <a:gd name="T93" fmla="*/ 0 h 1362"/>
              <a:gd name="T94" fmla="*/ 9023 w 11859"/>
              <a:gd name="T95" fmla="*/ 0 h 1362"/>
              <a:gd name="T96" fmla="*/ 10441 w 11859"/>
              <a:gd name="T97" fmla="*/ 0 h 1362"/>
              <a:gd name="T98" fmla="*/ 11859 w 11859"/>
              <a:gd name="T99" fmla="*/ 0 h 1362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835 w 10000"/>
              <a:gd name="connsiteY2" fmla="*/ 10000 h 10000"/>
              <a:gd name="connsiteX3" fmla="*/ 614 w 10000"/>
              <a:gd name="connsiteY3" fmla="*/ 10000 h 10000"/>
              <a:gd name="connsiteX4" fmla="*/ 13 w 10000"/>
              <a:gd name="connsiteY4" fmla="*/ 10000 h 10000"/>
              <a:gd name="connsiteX5" fmla="*/ 13 w 10000"/>
              <a:gd name="connsiteY5" fmla="*/ 8245 h 10000"/>
              <a:gd name="connsiteX6" fmla="*/ 289 w 10000"/>
              <a:gd name="connsiteY6" fmla="*/ 5815 h 10000"/>
              <a:gd name="connsiteX7" fmla="*/ 318 w 10000"/>
              <a:gd name="connsiteY7" fmla="*/ 5551 h 10000"/>
              <a:gd name="connsiteX8" fmla="*/ 343 w 10000"/>
              <a:gd name="connsiteY8" fmla="*/ 5316 h 10000"/>
              <a:gd name="connsiteX9" fmla="*/ 367 w 10000"/>
              <a:gd name="connsiteY9" fmla="*/ 5103 h 10000"/>
              <a:gd name="connsiteX10" fmla="*/ 388 w 10000"/>
              <a:gd name="connsiteY10" fmla="*/ 4905 h 10000"/>
              <a:gd name="connsiteX11" fmla="*/ 406 w 10000"/>
              <a:gd name="connsiteY11" fmla="*/ 4728 h 10000"/>
              <a:gd name="connsiteX12" fmla="*/ 421 w 10000"/>
              <a:gd name="connsiteY12" fmla="*/ 4574 h 10000"/>
              <a:gd name="connsiteX13" fmla="*/ 434 w 10000"/>
              <a:gd name="connsiteY13" fmla="*/ 4449 h 10000"/>
              <a:gd name="connsiteX14" fmla="*/ 444 w 10000"/>
              <a:gd name="connsiteY14" fmla="*/ 4339 h 10000"/>
              <a:gd name="connsiteX15" fmla="*/ 461 w 10000"/>
              <a:gd name="connsiteY15" fmla="*/ 4148 h 10000"/>
              <a:gd name="connsiteX16" fmla="*/ 476 w 10000"/>
              <a:gd name="connsiteY16" fmla="*/ 3972 h 10000"/>
              <a:gd name="connsiteX17" fmla="*/ 487 w 10000"/>
              <a:gd name="connsiteY17" fmla="*/ 3811 h 10000"/>
              <a:gd name="connsiteX18" fmla="*/ 495 w 10000"/>
              <a:gd name="connsiteY18" fmla="*/ 3664 h 10000"/>
              <a:gd name="connsiteX19" fmla="*/ 498 w 10000"/>
              <a:gd name="connsiteY19" fmla="*/ 3583 h 10000"/>
              <a:gd name="connsiteX20" fmla="*/ 502 w 10000"/>
              <a:gd name="connsiteY20" fmla="*/ 3517 h 10000"/>
              <a:gd name="connsiteX21" fmla="*/ 503 w 10000"/>
              <a:gd name="connsiteY21" fmla="*/ 3443 h 10000"/>
              <a:gd name="connsiteX22" fmla="*/ 506 w 10000"/>
              <a:gd name="connsiteY22" fmla="*/ 3370 h 10000"/>
              <a:gd name="connsiteX23" fmla="*/ 507 w 10000"/>
              <a:gd name="connsiteY23" fmla="*/ 3297 h 10000"/>
              <a:gd name="connsiteX24" fmla="*/ 508 w 10000"/>
              <a:gd name="connsiteY24" fmla="*/ 3223 h 10000"/>
              <a:gd name="connsiteX25" fmla="*/ 509 w 10000"/>
              <a:gd name="connsiteY25" fmla="*/ 3142 h 10000"/>
              <a:gd name="connsiteX26" fmla="*/ 509 w 10000"/>
              <a:gd name="connsiteY26" fmla="*/ 3069 h 10000"/>
              <a:gd name="connsiteX27" fmla="*/ 508 w 10000"/>
              <a:gd name="connsiteY27" fmla="*/ 2974 h 10000"/>
              <a:gd name="connsiteX28" fmla="*/ 508 w 10000"/>
              <a:gd name="connsiteY28" fmla="*/ 2885 h 10000"/>
              <a:gd name="connsiteX29" fmla="*/ 505 w 10000"/>
              <a:gd name="connsiteY29" fmla="*/ 2797 h 10000"/>
              <a:gd name="connsiteX30" fmla="*/ 503 w 10000"/>
              <a:gd name="connsiteY30" fmla="*/ 2724 h 10000"/>
              <a:gd name="connsiteX31" fmla="*/ 498 w 10000"/>
              <a:gd name="connsiteY31" fmla="*/ 2651 h 10000"/>
              <a:gd name="connsiteX32" fmla="*/ 492 w 10000"/>
              <a:gd name="connsiteY32" fmla="*/ 2577 h 10000"/>
              <a:gd name="connsiteX33" fmla="*/ 487 w 10000"/>
              <a:gd name="connsiteY33" fmla="*/ 2518 h 10000"/>
              <a:gd name="connsiteX34" fmla="*/ 481 w 10000"/>
              <a:gd name="connsiteY34" fmla="*/ 2460 h 10000"/>
              <a:gd name="connsiteX35" fmla="*/ 474 w 10000"/>
              <a:gd name="connsiteY35" fmla="*/ 2408 h 10000"/>
              <a:gd name="connsiteX36" fmla="*/ 465 w 10000"/>
              <a:gd name="connsiteY36" fmla="*/ 2364 h 10000"/>
              <a:gd name="connsiteX37" fmla="*/ 456 w 10000"/>
              <a:gd name="connsiteY37" fmla="*/ 2327 h 10000"/>
              <a:gd name="connsiteX38" fmla="*/ 446 w 10000"/>
              <a:gd name="connsiteY38" fmla="*/ 2291 h 10000"/>
              <a:gd name="connsiteX39" fmla="*/ 436 w 10000"/>
              <a:gd name="connsiteY39" fmla="*/ 2269 h 10000"/>
              <a:gd name="connsiteX40" fmla="*/ 424 w 10000"/>
              <a:gd name="connsiteY40" fmla="*/ 2254 h 10000"/>
              <a:gd name="connsiteX41" fmla="*/ 413 w 10000"/>
              <a:gd name="connsiteY41" fmla="*/ 2247 h 10000"/>
              <a:gd name="connsiteX42" fmla="*/ 400 w 10000"/>
              <a:gd name="connsiteY42" fmla="*/ 2232 h 10000"/>
              <a:gd name="connsiteX43" fmla="*/ 387 w 10000"/>
              <a:gd name="connsiteY43" fmla="*/ 2247 h 10000"/>
              <a:gd name="connsiteX44" fmla="*/ 374 w 10000"/>
              <a:gd name="connsiteY44" fmla="*/ 2254 h 10000"/>
              <a:gd name="connsiteX45" fmla="*/ 359 w 10000"/>
              <a:gd name="connsiteY45" fmla="*/ 2276 h 10000"/>
              <a:gd name="connsiteX46" fmla="*/ 347 w 10000"/>
              <a:gd name="connsiteY46" fmla="*/ 2305 h 10000"/>
              <a:gd name="connsiteX47" fmla="*/ 332 w 10000"/>
              <a:gd name="connsiteY47" fmla="*/ 2342 h 10000"/>
              <a:gd name="connsiteX48" fmla="*/ 320 w 10000"/>
              <a:gd name="connsiteY48" fmla="*/ 2386 h 10000"/>
              <a:gd name="connsiteX49" fmla="*/ 305 w 10000"/>
              <a:gd name="connsiteY49" fmla="*/ 2445 h 10000"/>
              <a:gd name="connsiteX50" fmla="*/ 292 w 10000"/>
              <a:gd name="connsiteY50" fmla="*/ 2504 h 10000"/>
              <a:gd name="connsiteX51" fmla="*/ 278 w 10000"/>
              <a:gd name="connsiteY51" fmla="*/ 2570 h 10000"/>
              <a:gd name="connsiteX52" fmla="*/ 263 w 10000"/>
              <a:gd name="connsiteY52" fmla="*/ 2658 h 10000"/>
              <a:gd name="connsiteX53" fmla="*/ 250 w 10000"/>
              <a:gd name="connsiteY53" fmla="*/ 2739 h 10000"/>
              <a:gd name="connsiteX54" fmla="*/ 234 w 10000"/>
              <a:gd name="connsiteY54" fmla="*/ 2834 h 10000"/>
              <a:gd name="connsiteX55" fmla="*/ 202 w 10000"/>
              <a:gd name="connsiteY55" fmla="*/ 3047 h 10000"/>
              <a:gd name="connsiteX56" fmla="*/ 169 w 10000"/>
              <a:gd name="connsiteY56" fmla="*/ 3289 h 10000"/>
              <a:gd name="connsiteX57" fmla="*/ 0 w 10000"/>
              <a:gd name="connsiteY57" fmla="*/ 1579 h 10000"/>
              <a:gd name="connsiteX58" fmla="*/ 21 w 10000"/>
              <a:gd name="connsiteY58" fmla="*/ 1410 h 10000"/>
              <a:gd name="connsiteX59" fmla="*/ 42 w 10000"/>
              <a:gd name="connsiteY59" fmla="*/ 1256 h 10000"/>
              <a:gd name="connsiteX60" fmla="*/ 62 w 10000"/>
              <a:gd name="connsiteY60" fmla="*/ 1123 h 10000"/>
              <a:gd name="connsiteX61" fmla="*/ 81 w 10000"/>
              <a:gd name="connsiteY61" fmla="*/ 991 h 10000"/>
              <a:gd name="connsiteX62" fmla="*/ 99 w 10000"/>
              <a:gd name="connsiteY62" fmla="*/ 881 h 10000"/>
              <a:gd name="connsiteX63" fmla="*/ 116 w 10000"/>
              <a:gd name="connsiteY63" fmla="*/ 771 h 10000"/>
              <a:gd name="connsiteX64" fmla="*/ 132 w 10000"/>
              <a:gd name="connsiteY64" fmla="*/ 683 h 10000"/>
              <a:gd name="connsiteX65" fmla="*/ 148 w 10000"/>
              <a:gd name="connsiteY65" fmla="*/ 602 h 10000"/>
              <a:gd name="connsiteX66" fmla="*/ 163 w 10000"/>
              <a:gd name="connsiteY66" fmla="*/ 536 h 10000"/>
              <a:gd name="connsiteX67" fmla="*/ 178 w 10000"/>
              <a:gd name="connsiteY67" fmla="*/ 463 h 10000"/>
              <a:gd name="connsiteX68" fmla="*/ 194 w 10000"/>
              <a:gd name="connsiteY68" fmla="*/ 404 h 10000"/>
              <a:gd name="connsiteX69" fmla="*/ 210 w 10000"/>
              <a:gd name="connsiteY69" fmla="*/ 345 h 10000"/>
              <a:gd name="connsiteX70" fmla="*/ 226 w 10000"/>
              <a:gd name="connsiteY70" fmla="*/ 294 h 10000"/>
              <a:gd name="connsiteX71" fmla="*/ 243 w 10000"/>
              <a:gd name="connsiteY71" fmla="*/ 235 h 10000"/>
              <a:gd name="connsiteX72" fmla="*/ 260 w 10000"/>
              <a:gd name="connsiteY72" fmla="*/ 191 h 10000"/>
              <a:gd name="connsiteX73" fmla="*/ 277 w 10000"/>
              <a:gd name="connsiteY73" fmla="*/ 154 h 10000"/>
              <a:gd name="connsiteX74" fmla="*/ 295 w 10000"/>
              <a:gd name="connsiteY74" fmla="*/ 117 h 10000"/>
              <a:gd name="connsiteX75" fmla="*/ 312 w 10000"/>
              <a:gd name="connsiteY75" fmla="*/ 81 h 10000"/>
              <a:gd name="connsiteX76" fmla="*/ 331 w 10000"/>
              <a:gd name="connsiteY76" fmla="*/ 59 h 10000"/>
              <a:gd name="connsiteX77" fmla="*/ 350 w 10000"/>
              <a:gd name="connsiteY77" fmla="*/ 37 h 10000"/>
              <a:gd name="connsiteX78" fmla="*/ 369 w 10000"/>
              <a:gd name="connsiteY78" fmla="*/ 22 h 10000"/>
              <a:gd name="connsiteX79" fmla="*/ 390 w 10000"/>
              <a:gd name="connsiteY79" fmla="*/ 7 h 10000"/>
              <a:gd name="connsiteX80" fmla="*/ 410 w 10000"/>
              <a:gd name="connsiteY80" fmla="*/ 0 h 10000"/>
              <a:gd name="connsiteX81" fmla="*/ 431 w 10000"/>
              <a:gd name="connsiteY81" fmla="*/ 0 h 10000"/>
              <a:gd name="connsiteX82" fmla="*/ 431 w 10000"/>
              <a:gd name="connsiteY82" fmla="*/ 0 h 10000"/>
              <a:gd name="connsiteX83" fmla="*/ 435 w 10000"/>
              <a:gd name="connsiteY83" fmla="*/ 0 h 10000"/>
              <a:gd name="connsiteX84" fmla="*/ 1033 w 10000"/>
              <a:gd name="connsiteY84" fmla="*/ 0 h 10000"/>
              <a:gd name="connsiteX85" fmla="*/ 1630 w 10000"/>
              <a:gd name="connsiteY85" fmla="*/ 0 h 10000"/>
              <a:gd name="connsiteX86" fmla="*/ 2228 w 10000"/>
              <a:gd name="connsiteY86" fmla="*/ 0 h 10000"/>
              <a:gd name="connsiteX87" fmla="*/ 2826 w 10000"/>
              <a:gd name="connsiteY87" fmla="*/ 0 h 10000"/>
              <a:gd name="connsiteX88" fmla="*/ 3424 w 10000"/>
              <a:gd name="connsiteY88" fmla="*/ 0 h 10000"/>
              <a:gd name="connsiteX89" fmla="*/ 4022 w 10000"/>
              <a:gd name="connsiteY89" fmla="*/ 0 h 10000"/>
              <a:gd name="connsiteX90" fmla="*/ 4620 w 10000"/>
              <a:gd name="connsiteY90" fmla="*/ 0 h 10000"/>
              <a:gd name="connsiteX91" fmla="*/ 5217 w 10000"/>
              <a:gd name="connsiteY91" fmla="*/ 0 h 10000"/>
              <a:gd name="connsiteX92" fmla="*/ 5815 w 10000"/>
              <a:gd name="connsiteY92" fmla="*/ 0 h 10000"/>
              <a:gd name="connsiteX93" fmla="*/ 6413 w 10000"/>
              <a:gd name="connsiteY93" fmla="*/ 0 h 10000"/>
              <a:gd name="connsiteX94" fmla="*/ 7011 w 10000"/>
              <a:gd name="connsiteY94" fmla="*/ 0 h 10000"/>
              <a:gd name="connsiteX95" fmla="*/ 7609 w 10000"/>
              <a:gd name="connsiteY95" fmla="*/ 0 h 10000"/>
              <a:gd name="connsiteX96" fmla="*/ 8207 w 10000"/>
              <a:gd name="connsiteY96" fmla="*/ 0 h 10000"/>
              <a:gd name="connsiteX97" fmla="*/ 8804 w 10000"/>
              <a:gd name="connsiteY97" fmla="*/ 0 h 10000"/>
              <a:gd name="connsiteX98" fmla="*/ 10000 w 10000"/>
              <a:gd name="connsiteY98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835 w 10000"/>
              <a:gd name="connsiteY2" fmla="*/ 10000 h 10000"/>
              <a:gd name="connsiteX3" fmla="*/ 614 w 10000"/>
              <a:gd name="connsiteY3" fmla="*/ 10000 h 10000"/>
              <a:gd name="connsiteX4" fmla="*/ 13 w 10000"/>
              <a:gd name="connsiteY4" fmla="*/ 10000 h 10000"/>
              <a:gd name="connsiteX5" fmla="*/ 13 w 10000"/>
              <a:gd name="connsiteY5" fmla="*/ 8245 h 10000"/>
              <a:gd name="connsiteX6" fmla="*/ 289 w 10000"/>
              <a:gd name="connsiteY6" fmla="*/ 5815 h 10000"/>
              <a:gd name="connsiteX7" fmla="*/ 318 w 10000"/>
              <a:gd name="connsiteY7" fmla="*/ 5551 h 10000"/>
              <a:gd name="connsiteX8" fmla="*/ 343 w 10000"/>
              <a:gd name="connsiteY8" fmla="*/ 5316 h 10000"/>
              <a:gd name="connsiteX9" fmla="*/ 367 w 10000"/>
              <a:gd name="connsiteY9" fmla="*/ 5103 h 10000"/>
              <a:gd name="connsiteX10" fmla="*/ 388 w 10000"/>
              <a:gd name="connsiteY10" fmla="*/ 4905 h 10000"/>
              <a:gd name="connsiteX11" fmla="*/ 406 w 10000"/>
              <a:gd name="connsiteY11" fmla="*/ 4728 h 10000"/>
              <a:gd name="connsiteX12" fmla="*/ 421 w 10000"/>
              <a:gd name="connsiteY12" fmla="*/ 4574 h 10000"/>
              <a:gd name="connsiteX13" fmla="*/ 434 w 10000"/>
              <a:gd name="connsiteY13" fmla="*/ 4449 h 10000"/>
              <a:gd name="connsiteX14" fmla="*/ 444 w 10000"/>
              <a:gd name="connsiteY14" fmla="*/ 4339 h 10000"/>
              <a:gd name="connsiteX15" fmla="*/ 461 w 10000"/>
              <a:gd name="connsiteY15" fmla="*/ 4148 h 10000"/>
              <a:gd name="connsiteX16" fmla="*/ 476 w 10000"/>
              <a:gd name="connsiteY16" fmla="*/ 3972 h 10000"/>
              <a:gd name="connsiteX17" fmla="*/ 487 w 10000"/>
              <a:gd name="connsiteY17" fmla="*/ 3811 h 10000"/>
              <a:gd name="connsiteX18" fmla="*/ 495 w 10000"/>
              <a:gd name="connsiteY18" fmla="*/ 3664 h 10000"/>
              <a:gd name="connsiteX19" fmla="*/ 498 w 10000"/>
              <a:gd name="connsiteY19" fmla="*/ 3583 h 10000"/>
              <a:gd name="connsiteX20" fmla="*/ 502 w 10000"/>
              <a:gd name="connsiteY20" fmla="*/ 3517 h 10000"/>
              <a:gd name="connsiteX21" fmla="*/ 503 w 10000"/>
              <a:gd name="connsiteY21" fmla="*/ 3443 h 10000"/>
              <a:gd name="connsiteX22" fmla="*/ 506 w 10000"/>
              <a:gd name="connsiteY22" fmla="*/ 3370 h 10000"/>
              <a:gd name="connsiteX23" fmla="*/ 507 w 10000"/>
              <a:gd name="connsiteY23" fmla="*/ 3297 h 10000"/>
              <a:gd name="connsiteX24" fmla="*/ 508 w 10000"/>
              <a:gd name="connsiteY24" fmla="*/ 3223 h 10000"/>
              <a:gd name="connsiteX25" fmla="*/ 509 w 10000"/>
              <a:gd name="connsiteY25" fmla="*/ 3142 h 10000"/>
              <a:gd name="connsiteX26" fmla="*/ 509 w 10000"/>
              <a:gd name="connsiteY26" fmla="*/ 3069 h 10000"/>
              <a:gd name="connsiteX27" fmla="*/ 508 w 10000"/>
              <a:gd name="connsiteY27" fmla="*/ 2974 h 10000"/>
              <a:gd name="connsiteX28" fmla="*/ 508 w 10000"/>
              <a:gd name="connsiteY28" fmla="*/ 2885 h 10000"/>
              <a:gd name="connsiteX29" fmla="*/ 505 w 10000"/>
              <a:gd name="connsiteY29" fmla="*/ 2797 h 10000"/>
              <a:gd name="connsiteX30" fmla="*/ 503 w 10000"/>
              <a:gd name="connsiteY30" fmla="*/ 2724 h 10000"/>
              <a:gd name="connsiteX31" fmla="*/ 498 w 10000"/>
              <a:gd name="connsiteY31" fmla="*/ 2651 h 10000"/>
              <a:gd name="connsiteX32" fmla="*/ 492 w 10000"/>
              <a:gd name="connsiteY32" fmla="*/ 2577 h 10000"/>
              <a:gd name="connsiteX33" fmla="*/ 487 w 10000"/>
              <a:gd name="connsiteY33" fmla="*/ 2518 h 10000"/>
              <a:gd name="connsiteX34" fmla="*/ 481 w 10000"/>
              <a:gd name="connsiteY34" fmla="*/ 2460 h 10000"/>
              <a:gd name="connsiteX35" fmla="*/ 474 w 10000"/>
              <a:gd name="connsiteY35" fmla="*/ 2408 h 10000"/>
              <a:gd name="connsiteX36" fmla="*/ 465 w 10000"/>
              <a:gd name="connsiteY36" fmla="*/ 2364 h 10000"/>
              <a:gd name="connsiteX37" fmla="*/ 456 w 10000"/>
              <a:gd name="connsiteY37" fmla="*/ 2327 h 10000"/>
              <a:gd name="connsiteX38" fmla="*/ 446 w 10000"/>
              <a:gd name="connsiteY38" fmla="*/ 2291 h 10000"/>
              <a:gd name="connsiteX39" fmla="*/ 436 w 10000"/>
              <a:gd name="connsiteY39" fmla="*/ 2269 h 10000"/>
              <a:gd name="connsiteX40" fmla="*/ 424 w 10000"/>
              <a:gd name="connsiteY40" fmla="*/ 2254 h 10000"/>
              <a:gd name="connsiteX41" fmla="*/ 413 w 10000"/>
              <a:gd name="connsiteY41" fmla="*/ 2247 h 10000"/>
              <a:gd name="connsiteX42" fmla="*/ 400 w 10000"/>
              <a:gd name="connsiteY42" fmla="*/ 2232 h 10000"/>
              <a:gd name="connsiteX43" fmla="*/ 387 w 10000"/>
              <a:gd name="connsiteY43" fmla="*/ 2247 h 10000"/>
              <a:gd name="connsiteX44" fmla="*/ 374 w 10000"/>
              <a:gd name="connsiteY44" fmla="*/ 2254 h 10000"/>
              <a:gd name="connsiteX45" fmla="*/ 359 w 10000"/>
              <a:gd name="connsiteY45" fmla="*/ 2276 h 10000"/>
              <a:gd name="connsiteX46" fmla="*/ 347 w 10000"/>
              <a:gd name="connsiteY46" fmla="*/ 2305 h 10000"/>
              <a:gd name="connsiteX47" fmla="*/ 332 w 10000"/>
              <a:gd name="connsiteY47" fmla="*/ 2342 h 10000"/>
              <a:gd name="connsiteX48" fmla="*/ 320 w 10000"/>
              <a:gd name="connsiteY48" fmla="*/ 2386 h 10000"/>
              <a:gd name="connsiteX49" fmla="*/ 305 w 10000"/>
              <a:gd name="connsiteY49" fmla="*/ 2445 h 10000"/>
              <a:gd name="connsiteX50" fmla="*/ 292 w 10000"/>
              <a:gd name="connsiteY50" fmla="*/ 2504 h 10000"/>
              <a:gd name="connsiteX51" fmla="*/ 278 w 10000"/>
              <a:gd name="connsiteY51" fmla="*/ 2570 h 10000"/>
              <a:gd name="connsiteX52" fmla="*/ 263 w 10000"/>
              <a:gd name="connsiteY52" fmla="*/ 2658 h 10000"/>
              <a:gd name="connsiteX53" fmla="*/ 250 w 10000"/>
              <a:gd name="connsiteY53" fmla="*/ 2739 h 10000"/>
              <a:gd name="connsiteX54" fmla="*/ 234 w 10000"/>
              <a:gd name="connsiteY54" fmla="*/ 2834 h 10000"/>
              <a:gd name="connsiteX55" fmla="*/ 202 w 10000"/>
              <a:gd name="connsiteY55" fmla="*/ 3047 h 10000"/>
              <a:gd name="connsiteX56" fmla="*/ 169 w 10000"/>
              <a:gd name="connsiteY56" fmla="*/ 3289 h 10000"/>
              <a:gd name="connsiteX57" fmla="*/ 0 w 10000"/>
              <a:gd name="connsiteY57" fmla="*/ 1579 h 10000"/>
              <a:gd name="connsiteX58" fmla="*/ 21 w 10000"/>
              <a:gd name="connsiteY58" fmla="*/ 1410 h 10000"/>
              <a:gd name="connsiteX59" fmla="*/ 42 w 10000"/>
              <a:gd name="connsiteY59" fmla="*/ 1256 h 10000"/>
              <a:gd name="connsiteX60" fmla="*/ 62 w 10000"/>
              <a:gd name="connsiteY60" fmla="*/ 1123 h 10000"/>
              <a:gd name="connsiteX61" fmla="*/ 81 w 10000"/>
              <a:gd name="connsiteY61" fmla="*/ 991 h 10000"/>
              <a:gd name="connsiteX62" fmla="*/ 99 w 10000"/>
              <a:gd name="connsiteY62" fmla="*/ 881 h 10000"/>
              <a:gd name="connsiteX63" fmla="*/ 116 w 10000"/>
              <a:gd name="connsiteY63" fmla="*/ 771 h 10000"/>
              <a:gd name="connsiteX64" fmla="*/ 132 w 10000"/>
              <a:gd name="connsiteY64" fmla="*/ 683 h 10000"/>
              <a:gd name="connsiteX65" fmla="*/ 148 w 10000"/>
              <a:gd name="connsiteY65" fmla="*/ 602 h 10000"/>
              <a:gd name="connsiteX66" fmla="*/ 163 w 10000"/>
              <a:gd name="connsiteY66" fmla="*/ 536 h 10000"/>
              <a:gd name="connsiteX67" fmla="*/ 178 w 10000"/>
              <a:gd name="connsiteY67" fmla="*/ 463 h 10000"/>
              <a:gd name="connsiteX68" fmla="*/ 194 w 10000"/>
              <a:gd name="connsiteY68" fmla="*/ 404 h 10000"/>
              <a:gd name="connsiteX69" fmla="*/ 210 w 10000"/>
              <a:gd name="connsiteY69" fmla="*/ 345 h 10000"/>
              <a:gd name="connsiteX70" fmla="*/ 226 w 10000"/>
              <a:gd name="connsiteY70" fmla="*/ 294 h 10000"/>
              <a:gd name="connsiteX71" fmla="*/ 243 w 10000"/>
              <a:gd name="connsiteY71" fmla="*/ 235 h 10000"/>
              <a:gd name="connsiteX72" fmla="*/ 260 w 10000"/>
              <a:gd name="connsiteY72" fmla="*/ 191 h 10000"/>
              <a:gd name="connsiteX73" fmla="*/ 277 w 10000"/>
              <a:gd name="connsiteY73" fmla="*/ 154 h 10000"/>
              <a:gd name="connsiteX74" fmla="*/ 295 w 10000"/>
              <a:gd name="connsiteY74" fmla="*/ 117 h 10000"/>
              <a:gd name="connsiteX75" fmla="*/ 312 w 10000"/>
              <a:gd name="connsiteY75" fmla="*/ 81 h 10000"/>
              <a:gd name="connsiteX76" fmla="*/ 331 w 10000"/>
              <a:gd name="connsiteY76" fmla="*/ 59 h 10000"/>
              <a:gd name="connsiteX77" fmla="*/ 350 w 10000"/>
              <a:gd name="connsiteY77" fmla="*/ 37 h 10000"/>
              <a:gd name="connsiteX78" fmla="*/ 369 w 10000"/>
              <a:gd name="connsiteY78" fmla="*/ 22 h 10000"/>
              <a:gd name="connsiteX79" fmla="*/ 390 w 10000"/>
              <a:gd name="connsiteY79" fmla="*/ 7 h 10000"/>
              <a:gd name="connsiteX80" fmla="*/ 410 w 10000"/>
              <a:gd name="connsiteY80" fmla="*/ 0 h 10000"/>
              <a:gd name="connsiteX81" fmla="*/ 431 w 10000"/>
              <a:gd name="connsiteY81" fmla="*/ 0 h 10000"/>
              <a:gd name="connsiteX82" fmla="*/ 431 w 10000"/>
              <a:gd name="connsiteY82" fmla="*/ 0 h 10000"/>
              <a:gd name="connsiteX83" fmla="*/ 435 w 10000"/>
              <a:gd name="connsiteY83" fmla="*/ 0 h 10000"/>
              <a:gd name="connsiteX84" fmla="*/ 1033 w 10000"/>
              <a:gd name="connsiteY84" fmla="*/ 0 h 10000"/>
              <a:gd name="connsiteX85" fmla="*/ 1630 w 10000"/>
              <a:gd name="connsiteY85" fmla="*/ 0 h 10000"/>
              <a:gd name="connsiteX86" fmla="*/ 2228 w 10000"/>
              <a:gd name="connsiteY86" fmla="*/ 0 h 10000"/>
              <a:gd name="connsiteX87" fmla="*/ 2826 w 10000"/>
              <a:gd name="connsiteY87" fmla="*/ 0 h 10000"/>
              <a:gd name="connsiteX88" fmla="*/ 3424 w 10000"/>
              <a:gd name="connsiteY88" fmla="*/ 0 h 10000"/>
              <a:gd name="connsiteX89" fmla="*/ 4022 w 10000"/>
              <a:gd name="connsiteY89" fmla="*/ 0 h 10000"/>
              <a:gd name="connsiteX90" fmla="*/ 4620 w 10000"/>
              <a:gd name="connsiteY90" fmla="*/ 0 h 10000"/>
              <a:gd name="connsiteX91" fmla="*/ 5217 w 10000"/>
              <a:gd name="connsiteY91" fmla="*/ 0 h 10000"/>
              <a:gd name="connsiteX92" fmla="*/ 5815 w 10000"/>
              <a:gd name="connsiteY92" fmla="*/ 0 h 10000"/>
              <a:gd name="connsiteX93" fmla="*/ 6413 w 10000"/>
              <a:gd name="connsiteY93" fmla="*/ 0 h 10000"/>
              <a:gd name="connsiteX94" fmla="*/ 7011 w 10000"/>
              <a:gd name="connsiteY94" fmla="*/ 0 h 10000"/>
              <a:gd name="connsiteX95" fmla="*/ 7609 w 10000"/>
              <a:gd name="connsiteY95" fmla="*/ 0 h 10000"/>
              <a:gd name="connsiteX96" fmla="*/ 8207 w 10000"/>
              <a:gd name="connsiteY96" fmla="*/ 0 h 10000"/>
              <a:gd name="connsiteX97" fmla="*/ 10000 w 10000"/>
              <a:gd name="connsiteY97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835 w 10000"/>
              <a:gd name="connsiteY2" fmla="*/ 10000 h 10000"/>
              <a:gd name="connsiteX3" fmla="*/ 614 w 10000"/>
              <a:gd name="connsiteY3" fmla="*/ 10000 h 10000"/>
              <a:gd name="connsiteX4" fmla="*/ 13 w 10000"/>
              <a:gd name="connsiteY4" fmla="*/ 10000 h 10000"/>
              <a:gd name="connsiteX5" fmla="*/ 13 w 10000"/>
              <a:gd name="connsiteY5" fmla="*/ 8245 h 10000"/>
              <a:gd name="connsiteX6" fmla="*/ 289 w 10000"/>
              <a:gd name="connsiteY6" fmla="*/ 5815 h 10000"/>
              <a:gd name="connsiteX7" fmla="*/ 318 w 10000"/>
              <a:gd name="connsiteY7" fmla="*/ 5551 h 10000"/>
              <a:gd name="connsiteX8" fmla="*/ 343 w 10000"/>
              <a:gd name="connsiteY8" fmla="*/ 5316 h 10000"/>
              <a:gd name="connsiteX9" fmla="*/ 367 w 10000"/>
              <a:gd name="connsiteY9" fmla="*/ 5103 h 10000"/>
              <a:gd name="connsiteX10" fmla="*/ 388 w 10000"/>
              <a:gd name="connsiteY10" fmla="*/ 4905 h 10000"/>
              <a:gd name="connsiteX11" fmla="*/ 406 w 10000"/>
              <a:gd name="connsiteY11" fmla="*/ 4728 h 10000"/>
              <a:gd name="connsiteX12" fmla="*/ 421 w 10000"/>
              <a:gd name="connsiteY12" fmla="*/ 4574 h 10000"/>
              <a:gd name="connsiteX13" fmla="*/ 434 w 10000"/>
              <a:gd name="connsiteY13" fmla="*/ 4449 h 10000"/>
              <a:gd name="connsiteX14" fmla="*/ 444 w 10000"/>
              <a:gd name="connsiteY14" fmla="*/ 4339 h 10000"/>
              <a:gd name="connsiteX15" fmla="*/ 461 w 10000"/>
              <a:gd name="connsiteY15" fmla="*/ 4148 h 10000"/>
              <a:gd name="connsiteX16" fmla="*/ 476 w 10000"/>
              <a:gd name="connsiteY16" fmla="*/ 3972 h 10000"/>
              <a:gd name="connsiteX17" fmla="*/ 487 w 10000"/>
              <a:gd name="connsiteY17" fmla="*/ 3811 h 10000"/>
              <a:gd name="connsiteX18" fmla="*/ 495 w 10000"/>
              <a:gd name="connsiteY18" fmla="*/ 3664 h 10000"/>
              <a:gd name="connsiteX19" fmla="*/ 498 w 10000"/>
              <a:gd name="connsiteY19" fmla="*/ 3583 h 10000"/>
              <a:gd name="connsiteX20" fmla="*/ 502 w 10000"/>
              <a:gd name="connsiteY20" fmla="*/ 3517 h 10000"/>
              <a:gd name="connsiteX21" fmla="*/ 503 w 10000"/>
              <a:gd name="connsiteY21" fmla="*/ 3443 h 10000"/>
              <a:gd name="connsiteX22" fmla="*/ 506 w 10000"/>
              <a:gd name="connsiteY22" fmla="*/ 3370 h 10000"/>
              <a:gd name="connsiteX23" fmla="*/ 507 w 10000"/>
              <a:gd name="connsiteY23" fmla="*/ 3297 h 10000"/>
              <a:gd name="connsiteX24" fmla="*/ 508 w 10000"/>
              <a:gd name="connsiteY24" fmla="*/ 3223 h 10000"/>
              <a:gd name="connsiteX25" fmla="*/ 509 w 10000"/>
              <a:gd name="connsiteY25" fmla="*/ 3142 h 10000"/>
              <a:gd name="connsiteX26" fmla="*/ 509 w 10000"/>
              <a:gd name="connsiteY26" fmla="*/ 3069 h 10000"/>
              <a:gd name="connsiteX27" fmla="*/ 508 w 10000"/>
              <a:gd name="connsiteY27" fmla="*/ 2974 h 10000"/>
              <a:gd name="connsiteX28" fmla="*/ 508 w 10000"/>
              <a:gd name="connsiteY28" fmla="*/ 2885 h 10000"/>
              <a:gd name="connsiteX29" fmla="*/ 505 w 10000"/>
              <a:gd name="connsiteY29" fmla="*/ 2797 h 10000"/>
              <a:gd name="connsiteX30" fmla="*/ 503 w 10000"/>
              <a:gd name="connsiteY30" fmla="*/ 2724 h 10000"/>
              <a:gd name="connsiteX31" fmla="*/ 498 w 10000"/>
              <a:gd name="connsiteY31" fmla="*/ 2651 h 10000"/>
              <a:gd name="connsiteX32" fmla="*/ 492 w 10000"/>
              <a:gd name="connsiteY32" fmla="*/ 2577 h 10000"/>
              <a:gd name="connsiteX33" fmla="*/ 487 w 10000"/>
              <a:gd name="connsiteY33" fmla="*/ 2518 h 10000"/>
              <a:gd name="connsiteX34" fmla="*/ 481 w 10000"/>
              <a:gd name="connsiteY34" fmla="*/ 2460 h 10000"/>
              <a:gd name="connsiteX35" fmla="*/ 474 w 10000"/>
              <a:gd name="connsiteY35" fmla="*/ 2408 h 10000"/>
              <a:gd name="connsiteX36" fmla="*/ 465 w 10000"/>
              <a:gd name="connsiteY36" fmla="*/ 2364 h 10000"/>
              <a:gd name="connsiteX37" fmla="*/ 456 w 10000"/>
              <a:gd name="connsiteY37" fmla="*/ 2327 h 10000"/>
              <a:gd name="connsiteX38" fmla="*/ 446 w 10000"/>
              <a:gd name="connsiteY38" fmla="*/ 2291 h 10000"/>
              <a:gd name="connsiteX39" fmla="*/ 436 w 10000"/>
              <a:gd name="connsiteY39" fmla="*/ 2269 h 10000"/>
              <a:gd name="connsiteX40" fmla="*/ 424 w 10000"/>
              <a:gd name="connsiteY40" fmla="*/ 2254 h 10000"/>
              <a:gd name="connsiteX41" fmla="*/ 413 w 10000"/>
              <a:gd name="connsiteY41" fmla="*/ 2247 h 10000"/>
              <a:gd name="connsiteX42" fmla="*/ 400 w 10000"/>
              <a:gd name="connsiteY42" fmla="*/ 2232 h 10000"/>
              <a:gd name="connsiteX43" fmla="*/ 387 w 10000"/>
              <a:gd name="connsiteY43" fmla="*/ 2247 h 10000"/>
              <a:gd name="connsiteX44" fmla="*/ 374 w 10000"/>
              <a:gd name="connsiteY44" fmla="*/ 2254 h 10000"/>
              <a:gd name="connsiteX45" fmla="*/ 359 w 10000"/>
              <a:gd name="connsiteY45" fmla="*/ 2276 h 10000"/>
              <a:gd name="connsiteX46" fmla="*/ 347 w 10000"/>
              <a:gd name="connsiteY46" fmla="*/ 2305 h 10000"/>
              <a:gd name="connsiteX47" fmla="*/ 332 w 10000"/>
              <a:gd name="connsiteY47" fmla="*/ 2342 h 10000"/>
              <a:gd name="connsiteX48" fmla="*/ 320 w 10000"/>
              <a:gd name="connsiteY48" fmla="*/ 2386 h 10000"/>
              <a:gd name="connsiteX49" fmla="*/ 305 w 10000"/>
              <a:gd name="connsiteY49" fmla="*/ 2445 h 10000"/>
              <a:gd name="connsiteX50" fmla="*/ 292 w 10000"/>
              <a:gd name="connsiteY50" fmla="*/ 2504 h 10000"/>
              <a:gd name="connsiteX51" fmla="*/ 278 w 10000"/>
              <a:gd name="connsiteY51" fmla="*/ 2570 h 10000"/>
              <a:gd name="connsiteX52" fmla="*/ 263 w 10000"/>
              <a:gd name="connsiteY52" fmla="*/ 2658 h 10000"/>
              <a:gd name="connsiteX53" fmla="*/ 250 w 10000"/>
              <a:gd name="connsiteY53" fmla="*/ 2739 h 10000"/>
              <a:gd name="connsiteX54" fmla="*/ 234 w 10000"/>
              <a:gd name="connsiteY54" fmla="*/ 2834 h 10000"/>
              <a:gd name="connsiteX55" fmla="*/ 202 w 10000"/>
              <a:gd name="connsiteY55" fmla="*/ 3047 h 10000"/>
              <a:gd name="connsiteX56" fmla="*/ 169 w 10000"/>
              <a:gd name="connsiteY56" fmla="*/ 3289 h 10000"/>
              <a:gd name="connsiteX57" fmla="*/ 0 w 10000"/>
              <a:gd name="connsiteY57" fmla="*/ 1579 h 10000"/>
              <a:gd name="connsiteX58" fmla="*/ 21 w 10000"/>
              <a:gd name="connsiteY58" fmla="*/ 1410 h 10000"/>
              <a:gd name="connsiteX59" fmla="*/ 42 w 10000"/>
              <a:gd name="connsiteY59" fmla="*/ 1256 h 10000"/>
              <a:gd name="connsiteX60" fmla="*/ 62 w 10000"/>
              <a:gd name="connsiteY60" fmla="*/ 1123 h 10000"/>
              <a:gd name="connsiteX61" fmla="*/ 81 w 10000"/>
              <a:gd name="connsiteY61" fmla="*/ 991 h 10000"/>
              <a:gd name="connsiteX62" fmla="*/ 99 w 10000"/>
              <a:gd name="connsiteY62" fmla="*/ 881 h 10000"/>
              <a:gd name="connsiteX63" fmla="*/ 116 w 10000"/>
              <a:gd name="connsiteY63" fmla="*/ 771 h 10000"/>
              <a:gd name="connsiteX64" fmla="*/ 132 w 10000"/>
              <a:gd name="connsiteY64" fmla="*/ 683 h 10000"/>
              <a:gd name="connsiteX65" fmla="*/ 148 w 10000"/>
              <a:gd name="connsiteY65" fmla="*/ 602 h 10000"/>
              <a:gd name="connsiteX66" fmla="*/ 163 w 10000"/>
              <a:gd name="connsiteY66" fmla="*/ 536 h 10000"/>
              <a:gd name="connsiteX67" fmla="*/ 178 w 10000"/>
              <a:gd name="connsiteY67" fmla="*/ 463 h 10000"/>
              <a:gd name="connsiteX68" fmla="*/ 194 w 10000"/>
              <a:gd name="connsiteY68" fmla="*/ 404 h 10000"/>
              <a:gd name="connsiteX69" fmla="*/ 210 w 10000"/>
              <a:gd name="connsiteY69" fmla="*/ 345 h 10000"/>
              <a:gd name="connsiteX70" fmla="*/ 226 w 10000"/>
              <a:gd name="connsiteY70" fmla="*/ 294 h 10000"/>
              <a:gd name="connsiteX71" fmla="*/ 243 w 10000"/>
              <a:gd name="connsiteY71" fmla="*/ 235 h 10000"/>
              <a:gd name="connsiteX72" fmla="*/ 260 w 10000"/>
              <a:gd name="connsiteY72" fmla="*/ 191 h 10000"/>
              <a:gd name="connsiteX73" fmla="*/ 277 w 10000"/>
              <a:gd name="connsiteY73" fmla="*/ 154 h 10000"/>
              <a:gd name="connsiteX74" fmla="*/ 295 w 10000"/>
              <a:gd name="connsiteY74" fmla="*/ 117 h 10000"/>
              <a:gd name="connsiteX75" fmla="*/ 312 w 10000"/>
              <a:gd name="connsiteY75" fmla="*/ 81 h 10000"/>
              <a:gd name="connsiteX76" fmla="*/ 331 w 10000"/>
              <a:gd name="connsiteY76" fmla="*/ 59 h 10000"/>
              <a:gd name="connsiteX77" fmla="*/ 350 w 10000"/>
              <a:gd name="connsiteY77" fmla="*/ 37 h 10000"/>
              <a:gd name="connsiteX78" fmla="*/ 369 w 10000"/>
              <a:gd name="connsiteY78" fmla="*/ 22 h 10000"/>
              <a:gd name="connsiteX79" fmla="*/ 390 w 10000"/>
              <a:gd name="connsiteY79" fmla="*/ 7 h 10000"/>
              <a:gd name="connsiteX80" fmla="*/ 410 w 10000"/>
              <a:gd name="connsiteY80" fmla="*/ 0 h 10000"/>
              <a:gd name="connsiteX81" fmla="*/ 431 w 10000"/>
              <a:gd name="connsiteY81" fmla="*/ 0 h 10000"/>
              <a:gd name="connsiteX82" fmla="*/ 431 w 10000"/>
              <a:gd name="connsiteY82" fmla="*/ 0 h 10000"/>
              <a:gd name="connsiteX83" fmla="*/ 435 w 10000"/>
              <a:gd name="connsiteY83" fmla="*/ 0 h 10000"/>
              <a:gd name="connsiteX84" fmla="*/ 1033 w 10000"/>
              <a:gd name="connsiteY84" fmla="*/ 0 h 10000"/>
              <a:gd name="connsiteX85" fmla="*/ 1630 w 10000"/>
              <a:gd name="connsiteY85" fmla="*/ 0 h 10000"/>
              <a:gd name="connsiteX86" fmla="*/ 2228 w 10000"/>
              <a:gd name="connsiteY86" fmla="*/ 0 h 10000"/>
              <a:gd name="connsiteX87" fmla="*/ 2826 w 10000"/>
              <a:gd name="connsiteY87" fmla="*/ 0 h 10000"/>
              <a:gd name="connsiteX88" fmla="*/ 3424 w 10000"/>
              <a:gd name="connsiteY88" fmla="*/ 0 h 10000"/>
              <a:gd name="connsiteX89" fmla="*/ 4022 w 10000"/>
              <a:gd name="connsiteY89" fmla="*/ 0 h 10000"/>
              <a:gd name="connsiteX90" fmla="*/ 4620 w 10000"/>
              <a:gd name="connsiteY90" fmla="*/ 0 h 10000"/>
              <a:gd name="connsiteX91" fmla="*/ 5217 w 10000"/>
              <a:gd name="connsiteY91" fmla="*/ 0 h 10000"/>
              <a:gd name="connsiteX92" fmla="*/ 5815 w 10000"/>
              <a:gd name="connsiteY92" fmla="*/ 0 h 10000"/>
              <a:gd name="connsiteX93" fmla="*/ 6413 w 10000"/>
              <a:gd name="connsiteY93" fmla="*/ 0 h 10000"/>
              <a:gd name="connsiteX94" fmla="*/ 7011 w 10000"/>
              <a:gd name="connsiteY94" fmla="*/ 0 h 10000"/>
              <a:gd name="connsiteX95" fmla="*/ 7609 w 10000"/>
              <a:gd name="connsiteY95" fmla="*/ 0 h 10000"/>
              <a:gd name="connsiteX96" fmla="*/ 10000 w 10000"/>
              <a:gd name="connsiteY96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835 w 10000"/>
              <a:gd name="connsiteY2" fmla="*/ 10000 h 10000"/>
              <a:gd name="connsiteX3" fmla="*/ 13 w 10000"/>
              <a:gd name="connsiteY3" fmla="*/ 10000 h 10000"/>
              <a:gd name="connsiteX4" fmla="*/ 13 w 10000"/>
              <a:gd name="connsiteY4" fmla="*/ 8245 h 10000"/>
              <a:gd name="connsiteX5" fmla="*/ 289 w 10000"/>
              <a:gd name="connsiteY5" fmla="*/ 5815 h 10000"/>
              <a:gd name="connsiteX6" fmla="*/ 318 w 10000"/>
              <a:gd name="connsiteY6" fmla="*/ 5551 h 10000"/>
              <a:gd name="connsiteX7" fmla="*/ 343 w 10000"/>
              <a:gd name="connsiteY7" fmla="*/ 5316 h 10000"/>
              <a:gd name="connsiteX8" fmla="*/ 367 w 10000"/>
              <a:gd name="connsiteY8" fmla="*/ 5103 h 10000"/>
              <a:gd name="connsiteX9" fmla="*/ 388 w 10000"/>
              <a:gd name="connsiteY9" fmla="*/ 4905 h 10000"/>
              <a:gd name="connsiteX10" fmla="*/ 406 w 10000"/>
              <a:gd name="connsiteY10" fmla="*/ 4728 h 10000"/>
              <a:gd name="connsiteX11" fmla="*/ 421 w 10000"/>
              <a:gd name="connsiteY11" fmla="*/ 4574 h 10000"/>
              <a:gd name="connsiteX12" fmla="*/ 434 w 10000"/>
              <a:gd name="connsiteY12" fmla="*/ 4449 h 10000"/>
              <a:gd name="connsiteX13" fmla="*/ 444 w 10000"/>
              <a:gd name="connsiteY13" fmla="*/ 4339 h 10000"/>
              <a:gd name="connsiteX14" fmla="*/ 461 w 10000"/>
              <a:gd name="connsiteY14" fmla="*/ 4148 h 10000"/>
              <a:gd name="connsiteX15" fmla="*/ 476 w 10000"/>
              <a:gd name="connsiteY15" fmla="*/ 3972 h 10000"/>
              <a:gd name="connsiteX16" fmla="*/ 487 w 10000"/>
              <a:gd name="connsiteY16" fmla="*/ 3811 h 10000"/>
              <a:gd name="connsiteX17" fmla="*/ 495 w 10000"/>
              <a:gd name="connsiteY17" fmla="*/ 3664 h 10000"/>
              <a:gd name="connsiteX18" fmla="*/ 498 w 10000"/>
              <a:gd name="connsiteY18" fmla="*/ 3583 h 10000"/>
              <a:gd name="connsiteX19" fmla="*/ 502 w 10000"/>
              <a:gd name="connsiteY19" fmla="*/ 3517 h 10000"/>
              <a:gd name="connsiteX20" fmla="*/ 503 w 10000"/>
              <a:gd name="connsiteY20" fmla="*/ 3443 h 10000"/>
              <a:gd name="connsiteX21" fmla="*/ 506 w 10000"/>
              <a:gd name="connsiteY21" fmla="*/ 3370 h 10000"/>
              <a:gd name="connsiteX22" fmla="*/ 507 w 10000"/>
              <a:gd name="connsiteY22" fmla="*/ 3297 h 10000"/>
              <a:gd name="connsiteX23" fmla="*/ 508 w 10000"/>
              <a:gd name="connsiteY23" fmla="*/ 3223 h 10000"/>
              <a:gd name="connsiteX24" fmla="*/ 509 w 10000"/>
              <a:gd name="connsiteY24" fmla="*/ 3142 h 10000"/>
              <a:gd name="connsiteX25" fmla="*/ 509 w 10000"/>
              <a:gd name="connsiteY25" fmla="*/ 3069 h 10000"/>
              <a:gd name="connsiteX26" fmla="*/ 508 w 10000"/>
              <a:gd name="connsiteY26" fmla="*/ 2974 h 10000"/>
              <a:gd name="connsiteX27" fmla="*/ 508 w 10000"/>
              <a:gd name="connsiteY27" fmla="*/ 2885 h 10000"/>
              <a:gd name="connsiteX28" fmla="*/ 505 w 10000"/>
              <a:gd name="connsiteY28" fmla="*/ 2797 h 10000"/>
              <a:gd name="connsiteX29" fmla="*/ 503 w 10000"/>
              <a:gd name="connsiteY29" fmla="*/ 2724 h 10000"/>
              <a:gd name="connsiteX30" fmla="*/ 498 w 10000"/>
              <a:gd name="connsiteY30" fmla="*/ 2651 h 10000"/>
              <a:gd name="connsiteX31" fmla="*/ 492 w 10000"/>
              <a:gd name="connsiteY31" fmla="*/ 2577 h 10000"/>
              <a:gd name="connsiteX32" fmla="*/ 487 w 10000"/>
              <a:gd name="connsiteY32" fmla="*/ 2518 h 10000"/>
              <a:gd name="connsiteX33" fmla="*/ 481 w 10000"/>
              <a:gd name="connsiteY33" fmla="*/ 2460 h 10000"/>
              <a:gd name="connsiteX34" fmla="*/ 474 w 10000"/>
              <a:gd name="connsiteY34" fmla="*/ 2408 h 10000"/>
              <a:gd name="connsiteX35" fmla="*/ 465 w 10000"/>
              <a:gd name="connsiteY35" fmla="*/ 2364 h 10000"/>
              <a:gd name="connsiteX36" fmla="*/ 456 w 10000"/>
              <a:gd name="connsiteY36" fmla="*/ 2327 h 10000"/>
              <a:gd name="connsiteX37" fmla="*/ 446 w 10000"/>
              <a:gd name="connsiteY37" fmla="*/ 2291 h 10000"/>
              <a:gd name="connsiteX38" fmla="*/ 436 w 10000"/>
              <a:gd name="connsiteY38" fmla="*/ 2269 h 10000"/>
              <a:gd name="connsiteX39" fmla="*/ 424 w 10000"/>
              <a:gd name="connsiteY39" fmla="*/ 2254 h 10000"/>
              <a:gd name="connsiteX40" fmla="*/ 413 w 10000"/>
              <a:gd name="connsiteY40" fmla="*/ 2247 h 10000"/>
              <a:gd name="connsiteX41" fmla="*/ 400 w 10000"/>
              <a:gd name="connsiteY41" fmla="*/ 2232 h 10000"/>
              <a:gd name="connsiteX42" fmla="*/ 387 w 10000"/>
              <a:gd name="connsiteY42" fmla="*/ 2247 h 10000"/>
              <a:gd name="connsiteX43" fmla="*/ 374 w 10000"/>
              <a:gd name="connsiteY43" fmla="*/ 2254 h 10000"/>
              <a:gd name="connsiteX44" fmla="*/ 359 w 10000"/>
              <a:gd name="connsiteY44" fmla="*/ 2276 h 10000"/>
              <a:gd name="connsiteX45" fmla="*/ 347 w 10000"/>
              <a:gd name="connsiteY45" fmla="*/ 2305 h 10000"/>
              <a:gd name="connsiteX46" fmla="*/ 332 w 10000"/>
              <a:gd name="connsiteY46" fmla="*/ 2342 h 10000"/>
              <a:gd name="connsiteX47" fmla="*/ 320 w 10000"/>
              <a:gd name="connsiteY47" fmla="*/ 2386 h 10000"/>
              <a:gd name="connsiteX48" fmla="*/ 305 w 10000"/>
              <a:gd name="connsiteY48" fmla="*/ 2445 h 10000"/>
              <a:gd name="connsiteX49" fmla="*/ 292 w 10000"/>
              <a:gd name="connsiteY49" fmla="*/ 2504 h 10000"/>
              <a:gd name="connsiteX50" fmla="*/ 278 w 10000"/>
              <a:gd name="connsiteY50" fmla="*/ 2570 h 10000"/>
              <a:gd name="connsiteX51" fmla="*/ 263 w 10000"/>
              <a:gd name="connsiteY51" fmla="*/ 2658 h 10000"/>
              <a:gd name="connsiteX52" fmla="*/ 250 w 10000"/>
              <a:gd name="connsiteY52" fmla="*/ 2739 h 10000"/>
              <a:gd name="connsiteX53" fmla="*/ 234 w 10000"/>
              <a:gd name="connsiteY53" fmla="*/ 2834 h 10000"/>
              <a:gd name="connsiteX54" fmla="*/ 202 w 10000"/>
              <a:gd name="connsiteY54" fmla="*/ 3047 h 10000"/>
              <a:gd name="connsiteX55" fmla="*/ 169 w 10000"/>
              <a:gd name="connsiteY55" fmla="*/ 3289 h 10000"/>
              <a:gd name="connsiteX56" fmla="*/ 0 w 10000"/>
              <a:gd name="connsiteY56" fmla="*/ 1579 h 10000"/>
              <a:gd name="connsiteX57" fmla="*/ 21 w 10000"/>
              <a:gd name="connsiteY57" fmla="*/ 1410 h 10000"/>
              <a:gd name="connsiteX58" fmla="*/ 42 w 10000"/>
              <a:gd name="connsiteY58" fmla="*/ 1256 h 10000"/>
              <a:gd name="connsiteX59" fmla="*/ 62 w 10000"/>
              <a:gd name="connsiteY59" fmla="*/ 1123 h 10000"/>
              <a:gd name="connsiteX60" fmla="*/ 81 w 10000"/>
              <a:gd name="connsiteY60" fmla="*/ 991 h 10000"/>
              <a:gd name="connsiteX61" fmla="*/ 99 w 10000"/>
              <a:gd name="connsiteY61" fmla="*/ 881 h 10000"/>
              <a:gd name="connsiteX62" fmla="*/ 116 w 10000"/>
              <a:gd name="connsiteY62" fmla="*/ 771 h 10000"/>
              <a:gd name="connsiteX63" fmla="*/ 132 w 10000"/>
              <a:gd name="connsiteY63" fmla="*/ 683 h 10000"/>
              <a:gd name="connsiteX64" fmla="*/ 148 w 10000"/>
              <a:gd name="connsiteY64" fmla="*/ 602 h 10000"/>
              <a:gd name="connsiteX65" fmla="*/ 163 w 10000"/>
              <a:gd name="connsiteY65" fmla="*/ 536 h 10000"/>
              <a:gd name="connsiteX66" fmla="*/ 178 w 10000"/>
              <a:gd name="connsiteY66" fmla="*/ 463 h 10000"/>
              <a:gd name="connsiteX67" fmla="*/ 194 w 10000"/>
              <a:gd name="connsiteY67" fmla="*/ 404 h 10000"/>
              <a:gd name="connsiteX68" fmla="*/ 210 w 10000"/>
              <a:gd name="connsiteY68" fmla="*/ 345 h 10000"/>
              <a:gd name="connsiteX69" fmla="*/ 226 w 10000"/>
              <a:gd name="connsiteY69" fmla="*/ 294 h 10000"/>
              <a:gd name="connsiteX70" fmla="*/ 243 w 10000"/>
              <a:gd name="connsiteY70" fmla="*/ 235 h 10000"/>
              <a:gd name="connsiteX71" fmla="*/ 260 w 10000"/>
              <a:gd name="connsiteY71" fmla="*/ 191 h 10000"/>
              <a:gd name="connsiteX72" fmla="*/ 277 w 10000"/>
              <a:gd name="connsiteY72" fmla="*/ 154 h 10000"/>
              <a:gd name="connsiteX73" fmla="*/ 295 w 10000"/>
              <a:gd name="connsiteY73" fmla="*/ 117 h 10000"/>
              <a:gd name="connsiteX74" fmla="*/ 312 w 10000"/>
              <a:gd name="connsiteY74" fmla="*/ 81 h 10000"/>
              <a:gd name="connsiteX75" fmla="*/ 331 w 10000"/>
              <a:gd name="connsiteY75" fmla="*/ 59 h 10000"/>
              <a:gd name="connsiteX76" fmla="*/ 350 w 10000"/>
              <a:gd name="connsiteY76" fmla="*/ 37 h 10000"/>
              <a:gd name="connsiteX77" fmla="*/ 369 w 10000"/>
              <a:gd name="connsiteY77" fmla="*/ 22 h 10000"/>
              <a:gd name="connsiteX78" fmla="*/ 390 w 10000"/>
              <a:gd name="connsiteY78" fmla="*/ 7 h 10000"/>
              <a:gd name="connsiteX79" fmla="*/ 410 w 10000"/>
              <a:gd name="connsiteY79" fmla="*/ 0 h 10000"/>
              <a:gd name="connsiteX80" fmla="*/ 431 w 10000"/>
              <a:gd name="connsiteY80" fmla="*/ 0 h 10000"/>
              <a:gd name="connsiteX81" fmla="*/ 431 w 10000"/>
              <a:gd name="connsiteY81" fmla="*/ 0 h 10000"/>
              <a:gd name="connsiteX82" fmla="*/ 435 w 10000"/>
              <a:gd name="connsiteY82" fmla="*/ 0 h 10000"/>
              <a:gd name="connsiteX83" fmla="*/ 1033 w 10000"/>
              <a:gd name="connsiteY83" fmla="*/ 0 h 10000"/>
              <a:gd name="connsiteX84" fmla="*/ 1630 w 10000"/>
              <a:gd name="connsiteY84" fmla="*/ 0 h 10000"/>
              <a:gd name="connsiteX85" fmla="*/ 2228 w 10000"/>
              <a:gd name="connsiteY85" fmla="*/ 0 h 10000"/>
              <a:gd name="connsiteX86" fmla="*/ 2826 w 10000"/>
              <a:gd name="connsiteY86" fmla="*/ 0 h 10000"/>
              <a:gd name="connsiteX87" fmla="*/ 3424 w 10000"/>
              <a:gd name="connsiteY87" fmla="*/ 0 h 10000"/>
              <a:gd name="connsiteX88" fmla="*/ 4022 w 10000"/>
              <a:gd name="connsiteY88" fmla="*/ 0 h 10000"/>
              <a:gd name="connsiteX89" fmla="*/ 4620 w 10000"/>
              <a:gd name="connsiteY89" fmla="*/ 0 h 10000"/>
              <a:gd name="connsiteX90" fmla="*/ 5217 w 10000"/>
              <a:gd name="connsiteY90" fmla="*/ 0 h 10000"/>
              <a:gd name="connsiteX91" fmla="*/ 5815 w 10000"/>
              <a:gd name="connsiteY91" fmla="*/ 0 h 10000"/>
              <a:gd name="connsiteX92" fmla="*/ 6413 w 10000"/>
              <a:gd name="connsiteY92" fmla="*/ 0 h 10000"/>
              <a:gd name="connsiteX93" fmla="*/ 7011 w 10000"/>
              <a:gd name="connsiteY93" fmla="*/ 0 h 10000"/>
              <a:gd name="connsiteX94" fmla="*/ 7609 w 10000"/>
              <a:gd name="connsiteY94" fmla="*/ 0 h 10000"/>
              <a:gd name="connsiteX95" fmla="*/ 10000 w 10000"/>
              <a:gd name="connsiteY95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1033 w 10000"/>
              <a:gd name="connsiteY82" fmla="*/ 0 h 10000"/>
              <a:gd name="connsiteX83" fmla="*/ 1630 w 10000"/>
              <a:gd name="connsiteY83" fmla="*/ 0 h 10000"/>
              <a:gd name="connsiteX84" fmla="*/ 2228 w 10000"/>
              <a:gd name="connsiteY84" fmla="*/ 0 h 10000"/>
              <a:gd name="connsiteX85" fmla="*/ 2826 w 10000"/>
              <a:gd name="connsiteY85" fmla="*/ 0 h 10000"/>
              <a:gd name="connsiteX86" fmla="*/ 3424 w 10000"/>
              <a:gd name="connsiteY86" fmla="*/ 0 h 10000"/>
              <a:gd name="connsiteX87" fmla="*/ 4022 w 10000"/>
              <a:gd name="connsiteY87" fmla="*/ 0 h 10000"/>
              <a:gd name="connsiteX88" fmla="*/ 4620 w 10000"/>
              <a:gd name="connsiteY88" fmla="*/ 0 h 10000"/>
              <a:gd name="connsiteX89" fmla="*/ 5217 w 10000"/>
              <a:gd name="connsiteY89" fmla="*/ 0 h 10000"/>
              <a:gd name="connsiteX90" fmla="*/ 5815 w 10000"/>
              <a:gd name="connsiteY90" fmla="*/ 0 h 10000"/>
              <a:gd name="connsiteX91" fmla="*/ 6413 w 10000"/>
              <a:gd name="connsiteY91" fmla="*/ 0 h 10000"/>
              <a:gd name="connsiteX92" fmla="*/ 7011 w 10000"/>
              <a:gd name="connsiteY92" fmla="*/ 0 h 10000"/>
              <a:gd name="connsiteX93" fmla="*/ 7609 w 10000"/>
              <a:gd name="connsiteY93" fmla="*/ 0 h 10000"/>
              <a:gd name="connsiteX94" fmla="*/ 10000 w 10000"/>
              <a:gd name="connsiteY94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1630 w 10000"/>
              <a:gd name="connsiteY82" fmla="*/ 0 h 10000"/>
              <a:gd name="connsiteX83" fmla="*/ 2228 w 10000"/>
              <a:gd name="connsiteY83" fmla="*/ 0 h 10000"/>
              <a:gd name="connsiteX84" fmla="*/ 2826 w 10000"/>
              <a:gd name="connsiteY84" fmla="*/ 0 h 10000"/>
              <a:gd name="connsiteX85" fmla="*/ 3424 w 10000"/>
              <a:gd name="connsiteY85" fmla="*/ 0 h 10000"/>
              <a:gd name="connsiteX86" fmla="*/ 4022 w 10000"/>
              <a:gd name="connsiteY86" fmla="*/ 0 h 10000"/>
              <a:gd name="connsiteX87" fmla="*/ 4620 w 10000"/>
              <a:gd name="connsiteY87" fmla="*/ 0 h 10000"/>
              <a:gd name="connsiteX88" fmla="*/ 5217 w 10000"/>
              <a:gd name="connsiteY88" fmla="*/ 0 h 10000"/>
              <a:gd name="connsiteX89" fmla="*/ 5815 w 10000"/>
              <a:gd name="connsiteY89" fmla="*/ 0 h 10000"/>
              <a:gd name="connsiteX90" fmla="*/ 6413 w 10000"/>
              <a:gd name="connsiteY90" fmla="*/ 0 h 10000"/>
              <a:gd name="connsiteX91" fmla="*/ 7011 w 10000"/>
              <a:gd name="connsiteY91" fmla="*/ 0 h 10000"/>
              <a:gd name="connsiteX92" fmla="*/ 7609 w 10000"/>
              <a:gd name="connsiteY92" fmla="*/ 0 h 10000"/>
              <a:gd name="connsiteX93" fmla="*/ 10000 w 10000"/>
              <a:gd name="connsiteY93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1630 w 10000"/>
              <a:gd name="connsiteY82" fmla="*/ 0 h 10000"/>
              <a:gd name="connsiteX83" fmla="*/ 2228 w 10000"/>
              <a:gd name="connsiteY83" fmla="*/ 0 h 10000"/>
              <a:gd name="connsiteX84" fmla="*/ 3424 w 10000"/>
              <a:gd name="connsiteY84" fmla="*/ 0 h 10000"/>
              <a:gd name="connsiteX85" fmla="*/ 4022 w 10000"/>
              <a:gd name="connsiteY85" fmla="*/ 0 h 10000"/>
              <a:gd name="connsiteX86" fmla="*/ 4620 w 10000"/>
              <a:gd name="connsiteY86" fmla="*/ 0 h 10000"/>
              <a:gd name="connsiteX87" fmla="*/ 5217 w 10000"/>
              <a:gd name="connsiteY87" fmla="*/ 0 h 10000"/>
              <a:gd name="connsiteX88" fmla="*/ 5815 w 10000"/>
              <a:gd name="connsiteY88" fmla="*/ 0 h 10000"/>
              <a:gd name="connsiteX89" fmla="*/ 6413 w 10000"/>
              <a:gd name="connsiteY89" fmla="*/ 0 h 10000"/>
              <a:gd name="connsiteX90" fmla="*/ 7011 w 10000"/>
              <a:gd name="connsiteY90" fmla="*/ 0 h 10000"/>
              <a:gd name="connsiteX91" fmla="*/ 7609 w 10000"/>
              <a:gd name="connsiteY91" fmla="*/ 0 h 10000"/>
              <a:gd name="connsiteX92" fmla="*/ 10000 w 10000"/>
              <a:gd name="connsiteY92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1630 w 10000"/>
              <a:gd name="connsiteY82" fmla="*/ 0 h 10000"/>
              <a:gd name="connsiteX83" fmla="*/ 3424 w 10000"/>
              <a:gd name="connsiteY83" fmla="*/ 0 h 10000"/>
              <a:gd name="connsiteX84" fmla="*/ 4022 w 10000"/>
              <a:gd name="connsiteY84" fmla="*/ 0 h 10000"/>
              <a:gd name="connsiteX85" fmla="*/ 4620 w 10000"/>
              <a:gd name="connsiteY85" fmla="*/ 0 h 10000"/>
              <a:gd name="connsiteX86" fmla="*/ 5217 w 10000"/>
              <a:gd name="connsiteY86" fmla="*/ 0 h 10000"/>
              <a:gd name="connsiteX87" fmla="*/ 5815 w 10000"/>
              <a:gd name="connsiteY87" fmla="*/ 0 h 10000"/>
              <a:gd name="connsiteX88" fmla="*/ 6413 w 10000"/>
              <a:gd name="connsiteY88" fmla="*/ 0 h 10000"/>
              <a:gd name="connsiteX89" fmla="*/ 7011 w 10000"/>
              <a:gd name="connsiteY89" fmla="*/ 0 h 10000"/>
              <a:gd name="connsiteX90" fmla="*/ 7609 w 10000"/>
              <a:gd name="connsiteY90" fmla="*/ 0 h 10000"/>
              <a:gd name="connsiteX91" fmla="*/ 10000 w 10000"/>
              <a:gd name="connsiteY91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3424 w 10000"/>
              <a:gd name="connsiteY82" fmla="*/ 0 h 10000"/>
              <a:gd name="connsiteX83" fmla="*/ 4022 w 10000"/>
              <a:gd name="connsiteY83" fmla="*/ 0 h 10000"/>
              <a:gd name="connsiteX84" fmla="*/ 4620 w 10000"/>
              <a:gd name="connsiteY84" fmla="*/ 0 h 10000"/>
              <a:gd name="connsiteX85" fmla="*/ 5217 w 10000"/>
              <a:gd name="connsiteY85" fmla="*/ 0 h 10000"/>
              <a:gd name="connsiteX86" fmla="*/ 5815 w 10000"/>
              <a:gd name="connsiteY86" fmla="*/ 0 h 10000"/>
              <a:gd name="connsiteX87" fmla="*/ 6413 w 10000"/>
              <a:gd name="connsiteY87" fmla="*/ 0 h 10000"/>
              <a:gd name="connsiteX88" fmla="*/ 7011 w 10000"/>
              <a:gd name="connsiteY88" fmla="*/ 0 h 10000"/>
              <a:gd name="connsiteX89" fmla="*/ 7609 w 10000"/>
              <a:gd name="connsiteY89" fmla="*/ 0 h 10000"/>
              <a:gd name="connsiteX90" fmla="*/ 10000 w 10000"/>
              <a:gd name="connsiteY90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4022 w 10000"/>
              <a:gd name="connsiteY82" fmla="*/ 0 h 10000"/>
              <a:gd name="connsiteX83" fmla="*/ 4620 w 10000"/>
              <a:gd name="connsiteY83" fmla="*/ 0 h 10000"/>
              <a:gd name="connsiteX84" fmla="*/ 5217 w 10000"/>
              <a:gd name="connsiteY84" fmla="*/ 0 h 10000"/>
              <a:gd name="connsiteX85" fmla="*/ 5815 w 10000"/>
              <a:gd name="connsiteY85" fmla="*/ 0 h 10000"/>
              <a:gd name="connsiteX86" fmla="*/ 6413 w 10000"/>
              <a:gd name="connsiteY86" fmla="*/ 0 h 10000"/>
              <a:gd name="connsiteX87" fmla="*/ 7011 w 10000"/>
              <a:gd name="connsiteY87" fmla="*/ 0 h 10000"/>
              <a:gd name="connsiteX88" fmla="*/ 7609 w 10000"/>
              <a:gd name="connsiteY88" fmla="*/ 0 h 10000"/>
              <a:gd name="connsiteX89" fmla="*/ 10000 w 10000"/>
              <a:gd name="connsiteY89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4620 w 10000"/>
              <a:gd name="connsiteY82" fmla="*/ 0 h 10000"/>
              <a:gd name="connsiteX83" fmla="*/ 5217 w 10000"/>
              <a:gd name="connsiteY83" fmla="*/ 0 h 10000"/>
              <a:gd name="connsiteX84" fmla="*/ 5815 w 10000"/>
              <a:gd name="connsiteY84" fmla="*/ 0 h 10000"/>
              <a:gd name="connsiteX85" fmla="*/ 6413 w 10000"/>
              <a:gd name="connsiteY85" fmla="*/ 0 h 10000"/>
              <a:gd name="connsiteX86" fmla="*/ 7011 w 10000"/>
              <a:gd name="connsiteY86" fmla="*/ 0 h 10000"/>
              <a:gd name="connsiteX87" fmla="*/ 7609 w 10000"/>
              <a:gd name="connsiteY87" fmla="*/ 0 h 10000"/>
              <a:gd name="connsiteX88" fmla="*/ 10000 w 10000"/>
              <a:gd name="connsiteY88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5217 w 10000"/>
              <a:gd name="connsiteY82" fmla="*/ 0 h 10000"/>
              <a:gd name="connsiteX83" fmla="*/ 5815 w 10000"/>
              <a:gd name="connsiteY83" fmla="*/ 0 h 10000"/>
              <a:gd name="connsiteX84" fmla="*/ 6413 w 10000"/>
              <a:gd name="connsiteY84" fmla="*/ 0 h 10000"/>
              <a:gd name="connsiteX85" fmla="*/ 7011 w 10000"/>
              <a:gd name="connsiteY85" fmla="*/ 0 h 10000"/>
              <a:gd name="connsiteX86" fmla="*/ 7609 w 10000"/>
              <a:gd name="connsiteY86" fmla="*/ 0 h 10000"/>
              <a:gd name="connsiteX87" fmla="*/ 10000 w 10000"/>
              <a:gd name="connsiteY87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5815 w 10000"/>
              <a:gd name="connsiteY82" fmla="*/ 0 h 10000"/>
              <a:gd name="connsiteX83" fmla="*/ 6413 w 10000"/>
              <a:gd name="connsiteY83" fmla="*/ 0 h 10000"/>
              <a:gd name="connsiteX84" fmla="*/ 7011 w 10000"/>
              <a:gd name="connsiteY84" fmla="*/ 0 h 10000"/>
              <a:gd name="connsiteX85" fmla="*/ 7609 w 10000"/>
              <a:gd name="connsiteY85" fmla="*/ 0 h 10000"/>
              <a:gd name="connsiteX86" fmla="*/ 10000 w 10000"/>
              <a:gd name="connsiteY86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6413 w 10000"/>
              <a:gd name="connsiteY82" fmla="*/ 0 h 10000"/>
              <a:gd name="connsiteX83" fmla="*/ 7011 w 10000"/>
              <a:gd name="connsiteY83" fmla="*/ 0 h 10000"/>
              <a:gd name="connsiteX84" fmla="*/ 7609 w 10000"/>
              <a:gd name="connsiteY84" fmla="*/ 0 h 10000"/>
              <a:gd name="connsiteX85" fmla="*/ 10000 w 10000"/>
              <a:gd name="connsiteY85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7011 w 10000"/>
              <a:gd name="connsiteY82" fmla="*/ 0 h 10000"/>
              <a:gd name="connsiteX83" fmla="*/ 7609 w 10000"/>
              <a:gd name="connsiteY83" fmla="*/ 0 h 10000"/>
              <a:gd name="connsiteX84" fmla="*/ 10000 w 10000"/>
              <a:gd name="connsiteY84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7609 w 10000"/>
              <a:gd name="connsiteY82" fmla="*/ 0 h 10000"/>
              <a:gd name="connsiteX83" fmla="*/ 10000 w 10000"/>
              <a:gd name="connsiteY83" fmla="*/ 0 h 10000"/>
              <a:gd name="connsiteX0" fmla="*/ 10000 w 10000"/>
              <a:gd name="connsiteY0" fmla="*/ 0 h 10000"/>
              <a:gd name="connsiteX1" fmla="*/ 10000 w 10000"/>
              <a:gd name="connsiteY1" fmla="*/ 10000 h 10000"/>
              <a:gd name="connsiteX2" fmla="*/ 13 w 10000"/>
              <a:gd name="connsiteY2" fmla="*/ 10000 h 10000"/>
              <a:gd name="connsiteX3" fmla="*/ 13 w 10000"/>
              <a:gd name="connsiteY3" fmla="*/ 8245 h 10000"/>
              <a:gd name="connsiteX4" fmla="*/ 289 w 10000"/>
              <a:gd name="connsiteY4" fmla="*/ 5815 h 10000"/>
              <a:gd name="connsiteX5" fmla="*/ 318 w 10000"/>
              <a:gd name="connsiteY5" fmla="*/ 5551 h 10000"/>
              <a:gd name="connsiteX6" fmla="*/ 343 w 10000"/>
              <a:gd name="connsiteY6" fmla="*/ 5316 h 10000"/>
              <a:gd name="connsiteX7" fmla="*/ 367 w 10000"/>
              <a:gd name="connsiteY7" fmla="*/ 5103 h 10000"/>
              <a:gd name="connsiteX8" fmla="*/ 388 w 10000"/>
              <a:gd name="connsiteY8" fmla="*/ 4905 h 10000"/>
              <a:gd name="connsiteX9" fmla="*/ 406 w 10000"/>
              <a:gd name="connsiteY9" fmla="*/ 4728 h 10000"/>
              <a:gd name="connsiteX10" fmla="*/ 421 w 10000"/>
              <a:gd name="connsiteY10" fmla="*/ 4574 h 10000"/>
              <a:gd name="connsiteX11" fmla="*/ 434 w 10000"/>
              <a:gd name="connsiteY11" fmla="*/ 4449 h 10000"/>
              <a:gd name="connsiteX12" fmla="*/ 444 w 10000"/>
              <a:gd name="connsiteY12" fmla="*/ 4339 h 10000"/>
              <a:gd name="connsiteX13" fmla="*/ 461 w 10000"/>
              <a:gd name="connsiteY13" fmla="*/ 4148 h 10000"/>
              <a:gd name="connsiteX14" fmla="*/ 476 w 10000"/>
              <a:gd name="connsiteY14" fmla="*/ 3972 h 10000"/>
              <a:gd name="connsiteX15" fmla="*/ 487 w 10000"/>
              <a:gd name="connsiteY15" fmla="*/ 3811 h 10000"/>
              <a:gd name="connsiteX16" fmla="*/ 495 w 10000"/>
              <a:gd name="connsiteY16" fmla="*/ 3664 h 10000"/>
              <a:gd name="connsiteX17" fmla="*/ 498 w 10000"/>
              <a:gd name="connsiteY17" fmla="*/ 3583 h 10000"/>
              <a:gd name="connsiteX18" fmla="*/ 502 w 10000"/>
              <a:gd name="connsiteY18" fmla="*/ 3517 h 10000"/>
              <a:gd name="connsiteX19" fmla="*/ 503 w 10000"/>
              <a:gd name="connsiteY19" fmla="*/ 3443 h 10000"/>
              <a:gd name="connsiteX20" fmla="*/ 506 w 10000"/>
              <a:gd name="connsiteY20" fmla="*/ 3370 h 10000"/>
              <a:gd name="connsiteX21" fmla="*/ 507 w 10000"/>
              <a:gd name="connsiteY21" fmla="*/ 3297 h 10000"/>
              <a:gd name="connsiteX22" fmla="*/ 508 w 10000"/>
              <a:gd name="connsiteY22" fmla="*/ 3223 h 10000"/>
              <a:gd name="connsiteX23" fmla="*/ 509 w 10000"/>
              <a:gd name="connsiteY23" fmla="*/ 3142 h 10000"/>
              <a:gd name="connsiteX24" fmla="*/ 509 w 10000"/>
              <a:gd name="connsiteY24" fmla="*/ 3069 h 10000"/>
              <a:gd name="connsiteX25" fmla="*/ 508 w 10000"/>
              <a:gd name="connsiteY25" fmla="*/ 2974 h 10000"/>
              <a:gd name="connsiteX26" fmla="*/ 508 w 10000"/>
              <a:gd name="connsiteY26" fmla="*/ 2885 h 10000"/>
              <a:gd name="connsiteX27" fmla="*/ 505 w 10000"/>
              <a:gd name="connsiteY27" fmla="*/ 2797 h 10000"/>
              <a:gd name="connsiteX28" fmla="*/ 503 w 10000"/>
              <a:gd name="connsiteY28" fmla="*/ 2724 h 10000"/>
              <a:gd name="connsiteX29" fmla="*/ 498 w 10000"/>
              <a:gd name="connsiteY29" fmla="*/ 2651 h 10000"/>
              <a:gd name="connsiteX30" fmla="*/ 492 w 10000"/>
              <a:gd name="connsiteY30" fmla="*/ 2577 h 10000"/>
              <a:gd name="connsiteX31" fmla="*/ 487 w 10000"/>
              <a:gd name="connsiteY31" fmla="*/ 2518 h 10000"/>
              <a:gd name="connsiteX32" fmla="*/ 481 w 10000"/>
              <a:gd name="connsiteY32" fmla="*/ 2460 h 10000"/>
              <a:gd name="connsiteX33" fmla="*/ 474 w 10000"/>
              <a:gd name="connsiteY33" fmla="*/ 2408 h 10000"/>
              <a:gd name="connsiteX34" fmla="*/ 465 w 10000"/>
              <a:gd name="connsiteY34" fmla="*/ 2364 h 10000"/>
              <a:gd name="connsiteX35" fmla="*/ 456 w 10000"/>
              <a:gd name="connsiteY35" fmla="*/ 2327 h 10000"/>
              <a:gd name="connsiteX36" fmla="*/ 446 w 10000"/>
              <a:gd name="connsiteY36" fmla="*/ 2291 h 10000"/>
              <a:gd name="connsiteX37" fmla="*/ 436 w 10000"/>
              <a:gd name="connsiteY37" fmla="*/ 2269 h 10000"/>
              <a:gd name="connsiteX38" fmla="*/ 424 w 10000"/>
              <a:gd name="connsiteY38" fmla="*/ 2254 h 10000"/>
              <a:gd name="connsiteX39" fmla="*/ 413 w 10000"/>
              <a:gd name="connsiteY39" fmla="*/ 2247 h 10000"/>
              <a:gd name="connsiteX40" fmla="*/ 400 w 10000"/>
              <a:gd name="connsiteY40" fmla="*/ 2232 h 10000"/>
              <a:gd name="connsiteX41" fmla="*/ 387 w 10000"/>
              <a:gd name="connsiteY41" fmla="*/ 2247 h 10000"/>
              <a:gd name="connsiteX42" fmla="*/ 374 w 10000"/>
              <a:gd name="connsiteY42" fmla="*/ 2254 h 10000"/>
              <a:gd name="connsiteX43" fmla="*/ 359 w 10000"/>
              <a:gd name="connsiteY43" fmla="*/ 2276 h 10000"/>
              <a:gd name="connsiteX44" fmla="*/ 347 w 10000"/>
              <a:gd name="connsiteY44" fmla="*/ 2305 h 10000"/>
              <a:gd name="connsiteX45" fmla="*/ 332 w 10000"/>
              <a:gd name="connsiteY45" fmla="*/ 2342 h 10000"/>
              <a:gd name="connsiteX46" fmla="*/ 320 w 10000"/>
              <a:gd name="connsiteY46" fmla="*/ 2386 h 10000"/>
              <a:gd name="connsiteX47" fmla="*/ 305 w 10000"/>
              <a:gd name="connsiteY47" fmla="*/ 2445 h 10000"/>
              <a:gd name="connsiteX48" fmla="*/ 292 w 10000"/>
              <a:gd name="connsiteY48" fmla="*/ 2504 h 10000"/>
              <a:gd name="connsiteX49" fmla="*/ 278 w 10000"/>
              <a:gd name="connsiteY49" fmla="*/ 2570 h 10000"/>
              <a:gd name="connsiteX50" fmla="*/ 263 w 10000"/>
              <a:gd name="connsiteY50" fmla="*/ 2658 h 10000"/>
              <a:gd name="connsiteX51" fmla="*/ 250 w 10000"/>
              <a:gd name="connsiteY51" fmla="*/ 2739 h 10000"/>
              <a:gd name="connsiteX52" fmla="*/ 234 w 10000"/>
              <a:gd name="connsiteY52" fmla="*/ 2834 h 10000"/>
              <a:gd name="connsiteX53" fmla="*/ 202 w 10000"/>
              <a:gd name="connsiteY53" fmla="*/ 3047 h 10000"/>
              <a:gd name="connsiteX54" fmla="*/ 169 w 10000"/>
              <a:gd name="connsiteY54" fmla="*/ 3289 h 10000"/>
              <a:gd name="connsiteX55" fmla="*/ 0 w 10000"/>
              <a:gd name="connsiteY55" fmla="*/ 1579 h 10000"/>
              <a:gd name="connsiteX56" fmla="*/ 21 w 10000"/>
              <a:gd name="connsiteY56" fmla="*/ 1410 h 10000"/>
              <a:gd name="connsiteX57" fmla="*/ 42 w 10000"/>
              <a:gd name="connsiteY57" fmla="*/ 1256 h 10000"/>
              <a:gd name="connsiteX58" fmla="*/ 62 w 10000"/>
              <a:gd name="connsiteY58" fmla="*/ 1123 h 10000"/>
              <a:gd name="connsiteX59" fmla="*/ 81 w 10000"/>
              <a:gd name="connsiteY59" fmla="*/ 991 h 10000"/>
              <a:gd name="connsiteX60" fmla="*/ 99 w 10000"/>
              <a:gd name="connsiteY60" fmla="*/ 881 h 10000"/>
              <a:gd name="connsiteX61" fmla="*/ 116 w 10000"/>
              <a:gd name="connsiteY61" fmla="*/ 771 h 10000"/>
              <a:gd name="connsiteX62" fmla="*/ 132 w 10000"/>
              <a:gd name="connsiteY62" fmla="*/ 683 h 10000"/>
              <a:gd name="connsiteX63" fmla="*/ 148 w 10000"/>
              <a:gd name="connsiteY63" fmla="*/ 602 h 10000"/>
              <a:gd name="connsiteX64" fmla="*/ 163 w 10000"/>
              <a:gd name="connsiteY64" fmla="*/ 536 h 10000"/>
              <a:gd name="connsiteX65" fmla="*/ 178 w 10000"/>
              <a:gd name="connsiteY65" fmla="*/ 463 h 10000"/>
              <a:gd name="connsiteX66" fmla="*/ 194 w 10000"/>
              <a:gd name="connsiteY66" fmla="*/ 404 h 10000"/>
              <a:gd name="connsiteX67" fmla="*/ 210 w 10000"/>
              <a:gd name="connsiteY67" fmla="*/ 345 h 10000"/>
              <a:gd name="connsiteX68" fmla="*/ 226 w 10000"/>
              <a:gd name="connsiteY68" fmla="*/ 294 h 10000"/>
              <a:gd name="connsiteX69" fmla="*/ 243 w 10000"/>
              <a:gd name="connsiteY69" fmla="*/ 235 h 10000"/>
              <a:gd name="connsiteX70" fmla="*/ 260 w 10000"/>
              <a:gd name="connsiteY70" fmla="*/ 191 h 10000"/>
              <a:gd name="connsiteX71" fmla="*/ 277 w 10000"/>
              <a:gd name="connsiteY71" fmla="*/ 154 h 10000"/>
              <a:gd name="connsiteX72" fmla="*/ 295 w 10000"/>
              <a:gd name="connsiteY72" fmla="*/ 117 h 10000"/>
              <a:gd name="connsiteX73" fmla="*/ 312 w 10000"/>
              <a:gd name="connsiteY73" fmla="*/ 81 h 10000"/>
              <a:gd name="connsiteX74" fmla="*/ 331 w 10000"/>
              <a:gd name="connsiteY74" fmla="*/ 59 h 10000"/>
              <a:gd name="connsiteX75" fmla="*/ 350 w 10000"/>
              <a:gd name="connsiteY75" fmla="*/ 37 h 10000"/>
              <a:gd name="connsiteX76" fmla="*/ 369 w 10000"/>
              <a:gd name="connsiteY76" fmla="*/ 22 h 10000"/>
              <a:gd name="connsiteX77" fmla="*/ 390 w 10000"/>
              <a:gd name="connsiteY77" fmla="*/ 7 h 10000"/>
              <a:gd name="connsiteX78" fmla="*/ 410 w 10000"/>
              <a:gd name="connsiteY78" fmla="*/ 0 h 10000"/>
              <a:gd name="connsiteX79" fmla="*/ 431 w 10000"/>
              <a:gd name="connsiteY79" fmla="*/ 0 h 10000"/>
              <a:gd name="connsiteX80" fmla="*/ 431 w 10000"/>
              <a:gd name="connsiteY80" fmla="*/ 0 h 10000"/>
              <a:gd name="connsiteX81" fmla="*/ 435 w 10000"/>
              <a:gd name="connsiteY81" fmla="*/ 0 h 10000"/>
              <a:gd name="connsiteX82" fmla="*/ 10000 w 10000"/>
              <a:gd name="connsiteY8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10000" y="10000"/>
                </a:lnTo>
                <a:lnTo>
                  <a:pt x="13" y="10000"/>
                </a:lnTo>
                <a:lnTo>
                  <a:pt x="13" y="8245"/>
                </a:lnTo>
                <a:lnTo>
                  <a:pt x="289" y="5815"/>
                </a:lnTo>
                <a:cubicBezTo>
                  <a:pt x="299" y="5727"/>
                  <a:pt x="308" y="5639"/>
                  <a:pt x="318" y="5551"/>
                </a:cubicBezTo>
                <a:cubicBezTo>
                  <a:pt x="326" y="5473"/>
                  <a:pt x="335" y="5394"/>
                  <a:pt x="343" y="5316"/>
                </a:cubicBezTo>
                <a:lnTo>
                  <a:pt x="367" y="5103"/>
                </a:lnTo>
                <a:lnTo>
                  <a:pt x="388" y="4905"/>
                </a:lnTo>
                <a:lnTo>
                  <a:pt x="406" y="4728"/>
                </a:lnTo>
                <a:cubicBezTo>
                  <a:pt x="411" y="4677"/>
                  <a:pt x="416" y="4625"/>
                  <a:pt x="421" y="4574"/>
                </a:cubicBezTo>
                <a:cubicBezTo>
                  <a:pt x="425" y="4532"/>
                  <a:pt x="430" y="4491"/>
                  <a:pt x="434" y="4449"/>
                </a:cubicBezTo>
                <a:cubicBezTo>
                  <a:pt x="437" y="4412"/>
                  <a:pt x="441" y="4376"/>
                  <a:pt x="444" y="4339"/>
                </a:cubicBezTo>
                <a:cubicBezTo>
                  <a:pt x="450" y="4275"/>
                  <a:pt x="455" y="4212"/>
                  <a:pt x="461" y="4148"/>
                </a:cubicBezTo>
                <a:cubicBezTo>
                  <a:pt x="466" y="4089"/>
                  <a:pt x="471" y="4031"/>
                  <a:pt x="476" y="3972"/>
                </a:cubicBezTo>
                <a:cubicBezTo>
                  <a:pt x="480" y="3918"/>
                  <a:pt x="483" y="3865"/>
                  <a:pt x="487" y="3811"/>
                </a:cubicBezTo>
                <a:cubicBezTo>
                  <a:pt x="490" y="3762"/>
                  <a:pt x="492" y="3713"/>
                  <a:pt x="495" y="3664"/>
                </a:cubicBezTo>
                <a:lnTo>
                  <a:pt x="498" y="3583"/>
                </a:lnTo>
                <a:cubicBezTo>
                  <a:pt x="499" y="3561"/>
                  <a:pt x="501" y="3539"/>
                  <a:pt x="502" y="3517"/>
                </a:cubicBezTo>
                <a:cubicBezTo>
                  <a:pt x="502" y="3492"/>
                  <a:pt x="503" y="3468"/>
                  <a:pt x="503" y="3443"/>
                </a:cubicBezTo>
                <a:cubicBezTo>
                  <a:pt x="504" y="3419"/>
                  <a:pt x="505" y="3394"/>
                  <a:pt x="506" y="3370"/>
                </a:cubicBezTo>
                <a:cubicBezTo>
                  <a:pt x="506" y="3346"/>
                  <a:pt x="507" y="3321"/>
                  <a:pt x="507" y="3297"/>
                </a:cubicBezTo>
                <a:cubicBezTo>
                  <a:pt x="507" y="3272"/>
                  <a:pt x="508" y="3248"/>
                  <a:pt x="508" y="3223"/>
                </a:cubicBezTo>
                <a:cubicBezTo>
                  <a:pt x="508" y="3196"/>
                  <a:pt x="509" y="3169"/>
                  <a:pt x="509" y="3142"/>
                </a:cubicBezTo>
                <a:lnTo>
                  <a:pt x="509" y="3069"/>
                </a:lnTo>
                <a:cubicBezTo>
                  <a:pt x="509" y="3037"/>
                  <a:pt x="508" y="3006"/>
                  <a:pt x="508" y="2974"/>
                </a:cubicBezTo>
                <a:lnTo>
                  <a:pt x="508" y="2885"/>
                </a:lnTo>
                <a:cubicBezTo>
                  <a:pt x="507" y="2856"/>
                  <a:pt x="506" y="2826"/>
                  <a:pt x="505" y="2797"/>
                </a:cubicBezTo>
                <a:cubicBezTo>
                  <a:pt x="504" y="2773"/>
                  <a:pt x="504" y="2748"/>
                  <a:pt x="503" y="2724"/>
                </a:cubicBezTo>
                <a:cubicBezTo>
                  <a:pt x="501" y="2700"/>
                  <a:pt x="500" y="2675"/>
                  <a:pt x="498" y="2651"/>
                </a:cubicBezTo>
                <a:cubicBezTo>
                  <a:pt x="496" y="2626"/>
                  <a:pt x="494" y="2602"/>
                  <a:pt x="492" y="2577"/>
                </a:cubicBezTo>
                <a:cubicBezTo>
                  <a:pt x="490" y="2557"/>
                  <a:pt x="489" y="2538"/>
                  <a:pt x="487" y="2518"/>
                </a:cubicBezTo>
                <a:cubicBezTo>
                  <a:pt x="485" y="2499"/>
                  <a:pt x="483" y="2479"/>
                  <a:pt x="481" y="2460"/>
                </a:cubicBezTo>
                <a:cubicBezTo>
                  <a:pt x="479" y="2443"/>
                  <a:pt x="476" y="2425"/>
                  <a:pt x="474" y="2408"/>
                </a:cubicBezTo>
                <a:cubicBezTo>
                  <a:pt x="471" y="2393"/>
                  <a:pt x="468" y="2379"/>
                  <a:pt x="465" y="2364"/>
                </a:cubicBezTo>
                <a:cubicBezTo>
                  <a:pt x="462" y="2352"/>
                  <a:pt x="459" y="2339"/>
                  <a:pt x="456" y="2327"/>
                </a:cubicBezTo>
                <a:cubicBezTo>
                  <a:pt x="453" y="2315"/>
                  <a:pt x="449" y="2303"/>
                  <a:pt x="446" y="2291"/>
                </a:cubicBezTo>
                <a:cubicBezTo>
                  <a:pt x="443" y="2284"/>
                  <a:pt x="439" y="2276"/>
                  <a:pt x="436" y="2269"/>
                </a:cubicBezTo>
                <a:lnTo>
                  <a:pt x="424" y="2254"/>
                </a:lnTo>
                <a:cubicBezTo>
                  <a:pt x="420" y="2252"/>
                  <a:pt x="417" y="2249"/>
                  <a:pt x="413" y="2247"/>
                </a:cubicBezTo>
                <a:cubicBezTo>
                  <a:pt x="409" y="2242"/>
                  <a:pt x="404" y="2237"/>
                  <a:pt x="400" y="2232"/>
                </a:cubicBezTo>
                <a:cubicBezTo>
                  <a:pt x="396" y="2237"/>
                  <a:pt x="391" y="2242"/>
                  <a:pt x="387" y="2247"/>
                </a:cubicBezTo>
                <a:cubicBezTo>
                  <a:pt x="383" y="2249"/>
                  <a:pt x="378" y="2252"/>
                  <a:pt x="374" y="2254"/>
                </a:cubicBezTo>
                <a:cubicBezTo>
                  <a:pt x="369" y="2261"/>
                  <a:pt x="364" y="2269"/>
                  <a:pt x="359" y="2276"/>
                </a:cubicBezTo>
                <a:cubicBezTo>
                  <a:pt x="355" y="2286"/>
                  <a:pt x="351" y="2295"/>
                  <a:pt x="347" y="2305"/>
                </a:cubicBezTo>
                <a:cubicBezTo>
                  <a:pt x="342" y="2317"/>
                  <a:pt x="337" y="2330"/>
                  <a:pt x="332" y="2342"/>
                </a:cubicBezTo>
                <a:cubicBezTo>
                  <a:pt x="328" y="2357"/>
                  <a:pt x="324" y="2371"/>
                  <a:pt x="320" y="2386"/>
                </a:cubicBezTo>
                <a:cubicBezTo>
                  <a:pt x="315" y="2406"/>
                  <a:pt x="310" y="2425"/>
                  <a:pt x="305" y="2445"/>
                </a:cubicBezTo>
                <a:cubicBezTo>
                  <a:pt x="301" y="2465"/>
                  <a:pt x="296" y="2484"/>
                  <a:pt x="292" y="2504"/>
                </a:cubicBezTo>
                <a:cubicBezTo>
                  <a:pt x="287" y="2526"/>
                  <a:pt x="283" y="2548"/>
                  <a:pt x="278" y="2570"/>
                </a:cubicBezTo>
                <a:cubicBezTo>
                  <a:pt x="273" y="2599"/>
                  <a:pt x="268" y="2629"/>
                  <a:pt x="263" y="2658"/>
                </a:cubicBezTo>
                <a:cubicBezTo>
                  <a:pt x="259" y="2685"/>
                  <a:pt x="254" y="2712"/>
                  <a:pt x="250" y="2739"/>
                </a:cubicBezTo>
                <a:cubicBezTo>
                  <a:pt x="245" y="2771"/>
                  <a:pt x="239" y="2802"/>
                  <a:pt x="234" y="2834"/>
                </a:cubicBezTo>
                <a:cubicBezTo>
                  <a:pt x="223" y="2905"/>
                  <a:pt x="213" y="2976"/>
                  <a:pt x="202" y="3047"/>
                </a:cubicBezTo>
                <a:cubicBezTo>
                  <a:pt x="191" y="3128"/>
                  <a:pt x="180" y="3208"/>
                  <a:pt x="169" y="3289"/>
                </a:cubicBezTo>
                <a:cubicBezTo>
                  <a:pt x="113" y="2719"/>
                  <a:pt x="56" y="2149"/>
                  <a:pt x="0" y="1579"/>
                </a:cubicBezTo>
                <a:cubicBezTo>
                  <a:pt x="7" y="1523"/>
                  <a:pt x="14" y="1466"/>
                  <a:pt x="21" y="1410"/>
                </a:cubicBezTo>
                <a:cubicBezTo>
                  <a:pt x="28" y="1359"/>
                  <a:pt x="35" y="1307"/>
                  <a:pt x="42" y="1256"/>
                </a:cubicBezTo>
                <a:cubicBezTo>
                  <a:pt x="49" y="1212"/>
                  <a:pt x="55" y="1167"/>
                  <a:pt x="62" y="1123"/>
                </a:cubicBezTo>
                <a:cubicBezTo>
                  <a:pt x="68" y="1079"/>
                  <a:pt x="75" y="1035"/>
                  <a:pt x="81" y="991"/>
                </a:cubicBezTo>
                <a:cubicBezTo>
                  <a:pt x="87" y="954"/>
                  <a:pt x="93" y="918"/>
                  <a:pt x="99" y="881"/>
                </a:cubicBezTo>
                <a:cubicBezTo>
                  <a:pt x="105" y="844"/>
                  <a:pt x="110" y="808"/>
                  <a:pt x="116" y="771"/>
                </a:cubicBezTo>
                <a:cubicBezTo>
                  <a:pt x="121" y="742"/>
                  <a:pt x="127" y="712"/>
                  <a:pt x="132" y="683"/>
                </a:cubicBezTo>
                <a:cubicBezTo>
                  <a:pt x="137" y="656"/>
                  <a:pt x="143" y="629"/>
                  <a:pt x="148" y="602"/>
                </a:cubicBezTo>
                <a:lnTo>
                  <a:pt x="163" y="536"/>
                </a:lnTo>
                <a:cubicBezTo>
                  <a:pt x="168" y="512"/>
                  <a:pt x="173" y="487"/>
                  <a:pt x="178" y="463"/>
                </a:cubicBezTo>
                <a:cubicBezTo>
                  <a:pt x="183" y="443"/>
                  <a:pt x="189" y="424"/>
                  <a:pt x="194" y="404"/>
                </a:cubicBezTo>
                <a:cubicBezTo>
                  <a:pt x="199" y="384"/>
                  <a:pt x="205" y="365"/>
                  <a:pt x="210" y="345"/>
                </a:cubicBezTo>
                <a:cubicBezTo>
                  <a:pt x="215" y="328"/>
                  <a:pt x="221" y="311"/>
                  <a:pt x="226" y="294"/>
                </a:cubicBezTo>
                <a:cubicBezTo>
                  <a:pt x="232" y="274"/>
                  <a:pt x="237" y="255"/>
                  <a:pt x="243" y="235"/>
                </a:cubicBezTo>
                <a:cubicBezTo>
                  <a:pt x="249" y="220"/>
                  <a:pt x="254" y="206"/>
                  <a:pt x="260" y="191"/>
                </a:cubicBezTo>
                <a:cubicBezTo>
                  <a:pt x="266" y="179"/>
                  <a:pt x="271" y="166"/>
                  <a:pt x="277" y="154"/>
                </a:cubicBezTo>
                <a:cubicBezTo>
                  <a:pt x="283" y="142"/>
                  <a:pt x="289" y="129"/>
                  <a:pt x="295" y="117"/>
                </a:cubicBezTo>
                <a:cubicBezTo>
                  <a:pt x="301" y="105"/>
                  <a:pt x="306" y="93"/>
                  <a:pt x="312" y="81"/>
                </a:cubicBezTo>
                <a:lnTo>
                  <a:pt x="331" y="59"/>
                </a:lnTo>
                <a:lnTo>
                  <a:pt x="350" y="37"/>
                </a:lnTo>
                <a:cubicBezTo>
                  <a:pt x="356" y="32"/>
                  <a:pt x="363" y="27"/>
                  <a:pt x="369" y="22"/>
                </a:cubicBezTo>
                <a:lnTo>
                  <a:pt x="390" y="7"/>
                </a:lnTo>
                <a:cubicBezTo>
                  <a:pt x="397" y="5"/>
                  <a:pt x="403" y="2"/>
                  <a:pt x="410" y="0"/>
                </a:cubicBezTo>
                <a:lnTo>
                  <a:pt x="431" y="0"/>
                </a:lnTo>
                <a:lnTo>
                  <a:pt x="431" y="0"/>
                </a:lnTo>
                <a:lnTo>
                  <a:pt x="435" y="0"/>
                </a:ln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12"/>
          <p:cNvSpPr>
            <a:spLocks/>
          </p:cNvSpPr>
          <p:nvPr/>
        </p:nvSpPr>
        <p:spPr bwMode="auto">
          <a:xfrm>
            <a:off x="4186101" y="1771937"/>
            <a:ext cx="7018411" cy="875130"/>
          </a:xfrm>
          <a:custGeom>
            <a:avLst/>
            <a:gdLst>
              <a:gd name="T0" fmla="*/ 601 w 11823"/>
              <a:gd name="T1" fmla="*/ 0 h 1343"/>
              <a:gd name="T2" fmla="*/ 789 w 11823"/>
              <a:gd name="T3" fmla="*/ 0 h 1343"/>
              <a:gd name="T4" fmla="*/ 11823 w 11823"/>
              <a:gd name="T5" fmla="*/ 0 h 1343"/>
              <a:gd name="T6" fmla="*/ 11823 w 11823"/>
              <a:gd name="T7" fmla="*/ 1343 h 1343"/>
              <a:gd name="T8" fmla="*/ 789 w 11823"/>
              <a:gd name="T9" fmla="*/ 1343 h 1343"/>
              <a:gd name="T10" fmla="*/ 601 w 11823"/>
              <a:gd name="T11" fmla="*/ 1343 h 1343"/>
              <a:gd name="T12" fmla="*/ 420 w 11823"/>
              <a:gd name="T13" fmla="*/ 1343 h 1343"/>
              <a:gd name="T14" fmla="*/ 420 w 11823"/>
              <a:gd name="T15" fmla="*/ 632 h 1343"/>
              <a:gd name="T16" fmla="*/ 420 w 11823"/>
              <a:gd name="T17" fmla="*/ 601 h 1343"/>
              <a:gd name="T18" fmla="*/ 421 w 11823"/>
              <a:gd name="T19" fmla="*/ 568 h 1343"/>
              <a:gd name="T20" fmla="*/ 421 w 11823"/>
              <a:gd name="T21" fmla="*/ 538 h 1343"/>
              <a:gd name="T22" fmla="*/ 422 w 11823"/>
              <a:gd name="T23" fmla="*/ 508 h 1343"/>
              <a:gd name="T24" fmla="*/ 422 w 11823"/>
              <a:gd name="T25" fmla="*/ 479 h 1343"/>
              <a:gd name="T26" fmla="*/ 423 w 11823"/>
              <a:gd name="T27" fmla="*/ 450 h 1343"/>
              <a:gd name="T28" fmla="*/ 424 w 11823"/>
              <a:gd name="T29" fmla="*/ 422 h 1343"/>
              <a:gd name="T30" fmla="*/ 426 w 11823"/>
              <a:gd name="T31" fmla="*/ 395 h 1343"/>
              <a:gd name="T32" fmla="*/ 407 w 11823"/>
              <a:gd name="T33" fmla="*/ 416 h 1343"/>
              <a:gd name="T34" fmla="*/ 387 w 11823"/>
              <a:gd name="T35" fmla="*/ 437 h 1343"/>
              <a:gd name="T36" fmla="*/ 366 w 11823"/>
              <a:gd name="T37" fmla="*/ 459 h 1343"/>
              <a:gd name="T38" fmla="*/ 341 w 11823"/>
              <a:gd name="T39" fmla="*/ 481 h 1343"/>
              <a:gd name="T40" fmla="*/ 189 w 11823"/>
              <a:gd name="T41" fmla="*/ 608 h 1343"/>
              <a:gd name="T42" fmla="*/ 0 w 11823"/>
              <a:gd name="T43" fmla="*/ 376 h 1343"/>
              <a:gd name="T44" fmla="*/ 461 w 11823"/>
              <a:gd name="T45" fmla="*/ 0 h 1343"/>
              <a:gd name="T46" fmla="*/ 601 w 11823"/>
              <a:gd name="T47" fmla="*/ 0 h 1343"/>
              <a:gd name="connsiteX0" fmla="*/ 508 w 10000"/>
              <a:gd name="connsiteY0" fmla="*/ 0 h 10000"/>
              <a:gd name="connsiteX1" fmla="*/ 66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667 w 10000"/>
              <a:gd name="connsiteY4" fmla="*/ 10000 h 10000"/>
              <a:gd name="connsiteX5" fmla="*/ 508 w 10000"/>
              <a:gd name="connsiteY5" fmla="*/ 10000 h 10000"/>
              <a:gd name="connsiteX6" fmla="*/ 355 w 10000"/>
              <a:gd name="connsiteY6" fmla="*/ 10000 h 10000"/>
              <a:gd name="connsiteX7" fmla="*/ 355 w 10000"/>
              <a:gd name="connsiteY7" fmla="*/ 4706 h 10000"/>
              <a:gd name="connsiteX8" fmla="*/ 355 w 10000"/>
              <a:gd name="connsiteY8" fmla="*/ 4475 h 10000"/>
              <a:gd name="connsiteX9" fmla="*/ 356 w 10000"/>
              <a:gd name="connsiteY9" fmla="*/ 4229 h 10000"/>
              <a:gd name="connsiteX10" fmla="*/ 356 w 10000"/>
              <a:gd name="connsiteY10" fmla="*/ 4006 h 10000"/>
              <a:gd name="connsiteX11" fmla="*/ 357 w 10000"/>
              <a:gd name="connsiteY11" fmla="*/ 3783 h 10000"/>
              <a:gd name="connsiteX12" fmla="*/ 357 w 10000"/>
              <a:gd name="connsiteY12" fmla="*/ 3567 h 10000"/>
              <a:gd name="connsiteX13" fmla="*/ 358 w 10000"/>
              <a:gd name="connsiteY13" fmla="*/ 3351 h 10000"/>
              <a:gd name="connsiteX14" fmla="*/ 359 w 10000"/>
              <a:gd name="connsiteY14" fmla="*/ 3142 h 10000"/>
              <a:gd name="connsiteX15" fmla="*/ 360 w 10000"/>
              <a:gd name="connsiteY15" fmla="*/ 2941 h 10000"/>
              <a:gd name="connsiteX16" fmla="*/ 344 w 10000"/>
              <a:gd name="connsiteY16" fmla="*/ 3098 h 10000"/>
              <a:gd name="connsiteX17" fmla="*/ 327 w 10000"/>
              <a:gd name="connsiteY17" fmla="*/ 3254 h 10000"/>
              <a:gd name="connsiteX18" fmla="*/ 310 w 10000"/>
              <a:gd name="connsiteY18" fmla="*/ 3418 h 10000"/>
              <a:gd name="connsiteX19" fmla="*/ 288 w 10000"/>
              <a:gd name="connsiteY19" fmla="*/ 3582 h 10000"/>
              <a:gd name="connsiteX20" fmla="*/ 160 w 10000"/>
              <a:gd name="connsiteY20" fmla="*/ 4527 h 10000"/>
              <a:gd name="connsiteX21" fmla="*/ 0 w 10000"/>
              <a:gd name="connsiteY21" fmla="*/ 2800 h 10000"/>
              <a:gd name="connsiteX22" fmla="*/ 390 w 10000"/>
              <a:gd name="connsiteY22" fmla="*/ 0 h 10000"/>
              <a:gd name="connsiteX23" fmla="*/ 508 w 10000"/>
              <a:gd name="connsiteY23" fmla="*/ 0 h 10000"/>
              <a:gd name="connsiteX0" fmla="*/ 508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667 w 10000"/>
              <a:gd name="connsiteY3" fmla="*/ 10000 h 10000"/>
              <a:gd name="connsiteX4" fmla="*/ 508 w 10000"/>
              <a:gd name="connsiteY4" fmla="*/ 10000 h 10000"/>
              <a:gd name="connsiteX5" fmla="*/ 355 w 10000"/>
              <a:gd name="connsiteY5" fmla="*/ 10000 h 10000"/>
              <a:gd name="connsiteX6" fmla="*/ 355 w 10000"/>
              <a:gd name="connsiteY6" fmla="*/ 4706 h 10000"/>
              <a:gd name="connsiteX7" fmla="*/ 355 w 10000"/>
              <a:gd name="connsiteY7" fmla="*/ 4475 h 10000"/>
              <a:gd name="connsiteX8" fmla="*/ 356 w 10000"/>
              <a:gd name="connsiteY8" fmla="*/ 4229 h 10000"/>
              <a:gd name="connsiteX9" fmla="*/ 356 w 10000"/>
              <a:gd name="connsiteY9" fmla="*/ 4006 h 10000"/>
              <a:gd name="connsiteX10" fmla="*/ 357 w 10000"/>
              <a:gd name="connsiteY10" fmla="*/ 3783 h 10000"/>
              <a:gd name="connsiteX11" fmla="*/ 357 w 10000"/>
              <a:gd name="connsiteY11" fmla="*/ 3567 h 10000"/>
              <a:gd name="connsiteX12" fmla="*/ 358 w 10000"/>
              <a:gd name="connsiteY12" fmla="*/ 3351 h 10000"/>
              <a:gd name="connsiteX13" fmla="*/ 359 w 10000"/>
              <a:gd name="connsiteY13" fmla="*/ 3142 h 10000"/>
              <a:gd name="connsiteX14" fmla="*/ 360 w 10000"/>
              <a:gd name="connsiteY14" fmla="*/ 2941 h 10000"/>
              <a:gd name="connsiteX15" fmla="*/ 344 w 10000"/>
              <a:gd name="connsiteY15" fmla="*/ 3098 h 10000"/>
              <a:gd name="connsiteX16" fmla="*/ 327 w 10000"/>
              <a:gd name="connsiteY16" fmla="*/ 3254 h 10000"/>
              <a:gd name="connsiteX17" fmla="*/ 310 w 10000"/>
              <a:gd name="connsiteY17" fmla="*/ 3418 h 10000"/>
              <a:gd name="connsiteX18" fmla="*/ 288 w 10000"/>
              <a:gd name="connsiteY18" fmla="*/ 3582 h 10000"/>
              <a:gd name="connsiteX19" fmla="*/ 160 w 10000"/>
              <a:gd name="connsiteY19" fmla="*/ 4527 h 10000"/>
              <a:gd name="connsiteX20" fmla="*/ 0 w 10000"/>
              <a:gd name="connsiteY20" fmla="*/ 2800 h 10000"/>
              <a:gd name="connsiteX21" fmla="*/ 390 w 10000"/>
              <a:gd name="connsiteY21" fmla="*/ 0 h 10000"/>
              <a:gd name="connsiteX22" fmla="*/ 508 w 10000"/>
              <a:gd name="connsiteY22" fmla="*/ 0 h 10000"/>
              <a:gd name="connsiteX0" fmla="*/ 39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667 w 10000"/>
              <a:gd name="connsiteY3" fmla="*/ 10000 h 10000"/>
              <a:gd name="connsiteX4" fmla="*/ 508 w 10000"/>
              <a:gd name="connsiteY4" fmla="*/ 10000 h 10000"/>
              <a:gd name="connsiteX5" fmla="*/ 355 w 10000"/>
              <a:gd name="connsiteY5" fmla="*/ 10000 h 10000"/>
              <a:gd name="connsiteX6" fmla="*/ 355 w 10000"/>
              <a:gd name="connsiteY6" fmla="*/ 4706 h 10000"/>
              <a:gd name="connsiteX7" fmla="*/ 355 w 10000"/>
              <a:gd name="connsiteY7" fmla="*/ 4475 h 10000"/>
              <a:gd name="connsiteX8" fmla="*/ 356 w 10000"/>
              <a:gd name="connsiteY8" fmla="*/ 4229 h 10000"/>
              <a:gd name="connsiteX9" fmla="*/ 356 w 10000"/>
              <a:gd name="connsiteY9" fmla="*/ 4006 h 10000"/>
              <a:gd name="connsiteX10" fmla="*/ 357 w 10000"/>
              <a:gd name="connsiteY10" fmla="*/ 3783 h 10000"/>
              <a:gd name="connsiteX11" fmla="*/ 357 w 10000"/>
              <a:gd name="connsiteY11" fmla="*/ 3567 h 10000"/>
              <a:gd name="connsiteX12" fmla="*/ 358 w 10000"/>
              <a:gd name="connsiteY12" fmla="*/ 3351 h 10000"/>
              <a:gd name="connsiteX13" fmla="*/ 359 w 10000"/>
              <a:gd name="connsiteY13" fmla="*/ 3142 h 10000"/>
              <a:gd name="connsiteX14" fmla="*/ 360 w 10000"/>
              <a:gd name="connsiteY14" fmla="*/ 2941 h 10000"/>
              <a:gd name="connsiteX15" fmla="*/ 344 w 10000"/>
              <a:gd name="connsiteY15" fmla="*/ 3098 h 10000"/>
              <a:gd name="connsiteX16" fmla="*/ 327 w 10000"/>
              <a:gd name="connsiteY16" fmla="*/ 3254 h 10000"/>
              <a:gd name="connsiteX17" fmla="*/ 310 w 10000"/>
              <a:gd name="connsiteY17" fmla="*/ 3418 h 10000"/>
              <a:gd name="connsiteX18" fmla="*/ 288 w 10000"/>
              <a:gd name="connsiteY18" fmla="*/ 3582 h 10000"/>
              <a:gd name="connsiteX19" fmla="*/ 160 w 10000"/>
              <a:gd name="connsiteY19" fmla="*/ 4527 h 10000"/>
              <a:gd name="connsiteX20" fmla="*/ 0 w 10000"/>
              <a:gd name="connsiteY20" fmla="*/ 2800 h 10000"/>
              <a:gd name="connsiteX21" fmla="*/ 390 w 10000"/>
              <a:gd name="connsiteY21" fmla="*/ 0 h 10000"/>
              <a:gd name="connsiteX0" fmla="*/ 39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508 w 10000"/>
              <a:gd name="connsiteY3" fmla="*/ 10000 h 10000"/>
              <a:gd name="connsiteX4" fmla="*/ 355 w 10000"/>
              <a:gd name="connsiteY4" fmla="*/ 10000 h 10000"/>
              <a:gd name="connsiteX5" fmla="*/ 355 w 10000"/>
              <a:gd name="connsiteY5" fmla="*/ 4706 h 10000"/>
              <a:gd name="connsiteX6" fmla="*/ 355 w 10000"/>
              <a:gd name="connsiteY6" fmla="*/ 4475 h 10000"/>
              <a:gd name="connsiteX7" fmla="*/ 356 w 10000"/>
              <a:gd name="connsiteY7" fmla="*/ 4229 h 10000"/>
              <a:gd name="connsiteX8" fmla="*/ 356 w 10000"/>
              <a:gd name="connsiteY8" fmla="*/ 4006 h 10000"/>
              <a:gd name="connsiteX9" fmla="*/ 357 w 10000"/>
              <a:gd name="connsiteY9" fmla="*/ 3783 h 10000"/>
              <a:gd name="connsiteX10" fmla="*/ 357 w 10000"/>
              <a:gd name="connsiteY10" fmla="*/ 3567 h 10000"/>
              <a:gd name="connsiteX11" fmla="*/ 358 w 10000"/>
              <a:gd name="connsiteY11" fmla="*/ 3351 h 10000"/>
              <a:gd name="connsiteX12" fmla="*/ 359 w 10000"/>
              <a:gd name="connsiteY12" fmla="*/ 3142 h 10000"/>
              <a:gd name="connsiteX13" fmla="*/ 360 w 10000"/>
              <a:gd name="connsiteY13" fmla="*/ 2941 h 10000"/>
              <a:gd name="connsiteX14" fmla="*/ 344 w 10000"/>
              <a:gd name="connsiteY14" fmla="*/ 3098 h 10000"/>
              <a:gd name="connsiteX15" fmla="*/ 327 w 10000"/>
              <a:gd name="connsiteY15" fmla="*/ 3254 h 10000"/>
              <a:gd name="connsiteX16" fmla="*/ 310 w 10000"/>
              <a:gd name="connsiteY16" fmla="*/ 3418 h 10000"/>
              <a:gd name="connsiteX17" fmla="*/ 288 w 10000"/>
              <a:gd name="connsiteY17" fmla="*/ 3582 h 10000"/>
              <a:gd name="connsiteX18" fmla="*/ 160 w 10000"/>
              <a:gd name="connsiteY18" fmla="*/ 4527 h 10000"/>
              <a:gd name="connsiteX19" fmla="*/ 0 w 10000"/>
              <a:gd name="connsiteY19" fmla="*/ 2800 h 10000"/>
              <a:gd name="connsiteX20" fmla="*/ 390 w 10000"/>
              <a:gd name="connsiteY20" fmla="*/ 0 h 10000"/>
              <a:gd name="connsiteX0" fmla="*/ 39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55 w 10000"/>
              <a:gd name="connsiteY3" fmla="*/ 10000 h 10000"/>
              <a:gd name="connsiteX4" fmla="*/ 355 w 10000"/>
              <a:gd name="connsiteY4" fmla="*/ 4706 h 10000"/>
              <a:gd name="connsiteX5" fmla="*/ 355 w 10000"/>
              <a:gd name="connsiteY5" fmla="*/ 4475 h 10000"/>
              <a:gd name="connsiteX6" fmla="*/ 356 w 10000"/>
              <a:gd name="connsiteY6" fmla="*/ 4229 h 10000"/>
              <a:gd name="connsiteX7" fmla="*/ 356 w 10000"/>
              <a:gd name="connsiteY7" fmla="*/ 4006 h 10000"/>
              <a:gd name="connsiteX8" fmla="*/ 357 w 10000"/>
              <a:gd name="connsiteY8" fmla="*/ 3783 h 10000"/>
              <a:gd name="connsiteX9" fmla="*/ 357 w 10000"/>
              <a:gd name="connsiteY9" fmla="*/ 3567 h 10000"/>
              <a:gd name="connsiteX10" fmla="*/ 358 w 10000"/>
              <a:gd name="connsiteY10" fmla="*/ 3351 h 10000"/>
              <a:gd name="connsiteX11" fmla="*/ 359 w 10000"/>
              <a:gd name="connsiteY11" fmla="*/ 3142 h 10000"/>
              <a:gd name="connsiteX12" fmla="*/ 360 w 10000"/>
              <a:gd name="connsiteY12" fmla="*/ 2941 h 10000"/>
              <a:gd name="connsiteX13" fmla="*/ 344 w 10000"/>
              <a:gd name="connsiteY13" fmla="*/ 3098 h 10000"/>
              <a:gd name="connsiteX14" fmla="*/ 327 w 10000"/>
              <a:gd name="connsiteY14" fmla="*/ 3254 h 10000"/>
              <a:gd name="connsiteX15" fmla="*/ 310 w 10000"/>
              <a:gd name="connsiteY15" fmla="*/ 3418 h 10000"/>
              <a:gd name="connsiteX16" fmla="*/ 288 w 10000"/>
              <a:gd name="connsiteY16" fmla="*/ 3582 h 10000"/>
              <a:gd name="connsiteX17" fmla="*/ 160 w 10000"/>
              <a:gd name="connsiteY17" fmla="*/ 4527 h 10000"/>
              <a:gd name="connsiteX18" fmla="*/ 0 w 10000"/>
              <a:gd name="connsiteY18" fmla="*/ 2800 h 10000"/>
              <a:gd name="connsiteX19" fmla="*/ 390 w 10000"/>
              <a:gd name="connsiteY19" fmla="*/ 0 h 10000"/>
              <a:gd name="connsiteX0" fmla="*/ 39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55 w 10000"/>
              <a:gd name="connsiteY3" fmla="*/ 10000 h 10000"/>
              <a:gd name="connsiteX4" fmla="*/ 355 w 10000"/>
              <a:gd name="connsiteY4" fmla="*/ 4706 h 10000"/>
              <a:gd name="connsiteX5" fmla="*/ 355 w 10000"/>
              <a:gd name="connsiteY5" fmla="*/ 4475 h 10000"/>
              <a:gd name="connsiteX6" fmla="*/ 356 w 10000"/>
              <a:gd name="connsiteY6" fmla="*/ 4229 h 10000"/>
              <a:gd name="connsiteX7" fmla="*/ 356 w 10000"/>
              <a:gd name="connsiteY7" fmla="*/ 4006 h 10000"/>
              <a:gd name="connsiteX8" fmla="*/ 357 w 10000"/>
              <a:gd name="connsiteY8" fmla="*/ 3783 h 10000"/>
              <a:gd name="connsiteX9" fmla="*/ 357 w 10000"/>
              <a:gd name="connsiteY9" fmla="*/ 3567 h 10000"/>
              <a:gd name="connsiteX10" fmla="*/ 358 w 10000"/>
              <a:gd name="connsiteY10" fmla="*/ 3351 h 10000"/>
              <a:gd name="connsiteX11" fmla="*/ 359 w 10000"/>
              <a:gd name="connsiteY11" fmla="*/ 3142 h 10000"/>
              <a:gd name="connsiteX12" fmla="*/ 360 w 10000"/>
              <a:gd name="connsiteY12" fmla="*/ 2941 h 10000"/>
              <a:gd name="connsiteX13" fmla="*/ 344 w 10000"/>
              <a:gd name="connsiteY13" fmla="*/ 3098 h 10000"/>
              <a:gd name="connsiteX14" fmla="*/ 327 w 10000"/>
              <a:gd name="connsiteY14" fmla="*/ 3254 h 10000"/>
              <a:gd name="connsiteX15" fmla="*/ 310 w 10000"/>
              <a:gd name="connsiteY15" fmla="*/ 3418 h 10000"/>
              <a:gd name="connsiteX16" fmla="*/ 288 w 10000"/>
              <a:gd name="connsiteY16" fmla="*/ 3582 h 10000"/>
              <a:gd name="connsiteX17" fmla="*/ 160 w 10000"/>
              <a:gd name="connsiteY17" fmla="*/ 4527 h 10000"/>
              <a:gd name="connsiteX18" fmla="*/ 0 w 10000"/>
              <a:gd name="connsiteY18" fmla="*/ 2800 h 10000"/>
              <a:gd name="connsiteX19" fmla="*/ 390 w 10000"/>
              <a:gd name="connsiteY19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0000" h="10000">
                <a:moveTo>
                  <a:pt x="39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355" y="10000"/>
                </a:lnTo>
                <a:lnTo>
                  <a:pt x="355" y="4706"/>
                </a:lnTo>
                <a:lnTo>
                  <a:pt x="355" y="4475"/>
                </a:lnTo>
                <a:cubicBezTo>
                  <a:pt x="355" y="4393"/>
                  <a:pt x="356" y="4311"/>
                  <a:pt x="356" y="4229"/>
                </a:cubicBezTo>
                <a:lnTo>
                  <a:pt x="356" y="4006"/>
                </a:lnTo>
                <a:cubicBezTo>
                  <a:pt x="356" y="3932"/>
                  <a:pt x="357" y="3857"/>
                  <a:pt x="357" y="3783"/>
                </a:cubicBezTo>
                <a:lnTo>
                  <a:pt x="357" y="3567"/>
                </a:lnTo>
                <a:cubicBezTo>
                  <a:pt x="357" y="3495"/>
                  <a:pt x="358" y="3423"/>
                  <a:pt x="358" y="3351"/>
                </a:cubicBezTo>
                <a:cubicBezTo>
                  <a:pt x="358" y="3281"/>
                  <a:pt x="359" y="3212"/>
                  <a:pt x="359" y="3142"/>
                </a:cubicBezTo>
                <a:cubicBezTo>
                  <a:pt x="359" y="3075"/>
                  <a:pt x="360" y="3008"/>
                  <a:pt x="360" y="2941"/>
                </a:cubicBezTo>
                <a:cubicBezTo>
                  <a:pt x="355" y="2993"/>
                  <a:pt x="349" y="3046"/>
                  <a:pt x="344" y="3098"/>
                </a:cubicBezTo>
                <a:cubicBezTo>
                  <a:pt x="338" y="3150"/>
                  <a:pt x="333" y="3202"/>
                  <a:pt x="327" y="3254"/>
                </a:cubicBezTo>
                <a:cubicBezTo>
                  <a:pt x="321" y="3309"/>
                  <a:pt x="316" y="3363"/>
                  <a:pt x="310" y="3418"/>
                </a:cubicBezTo>
                <a:cubicBezTo>
                  <a:pt x="303" y="3473"/>
                  <a:pt x="295" y="3527"/>
                  <a:pt x="288" y="3582"/>
                </a:cubicBezTo>
                <a:cubicBezTo>
                  <a:pt x="245" y="3897"/>
                  <a:pt x="203" y="4212"/>
                  <a:pt x="160" y="4527"/>
                </a:cubicBezTo>
                <a:cubicBezTo>
                  <a:pt x="107" y="3951"/>
                  <a:pt x="53" y="3376"/>
                  <a:pt x="0" y="2800"/>
                </a:cubicBezTo>
                <a:lnTo>
                  <a:pt x="39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 </a:t>
            </a:r>
          </a:p>
        </p:txBody>
      </p:sp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236264" y="2132856"/>
            <a:ext cx="2474528" cy="2088066"/>
          </a:xfrm>
        </p:spPr>
        <p:txBody>
          <a:bodyPr>
            <a:normAutofit/>
          </a:bodyPr>
          <a:lstStyle/>
          <a:p>
            <a:pPr algn="ctr"/>
            <a:r>
              <a:rPr lang="ru-RU" sz="3600" dirty="0">
                <a:sym typeface="Roboto" pitchFamily="2" charset="0"/>
              </a:rPr>
              <a:t>4 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простых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шага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347135" y="656692"/>
            <a:ext cx="6673589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+mj-cs"/>
                <a:sym typeface="Roboto" pitchFamily="2" charset="0"/>
              </a:rPr>
              <a:t>Как стать клиентом Биржи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+mj-cs"/>
              <a:sym typeface="Roboto" pitchFamily="2" charset="0"/>
            </a:endParaRPr>
          </a:p>
        </p:txBody>
      </p:sp>
      <p:sp>
        <p:nvSpPr>
          <p:cNvPr id="22" name="Заголовок 8"/>
          <p:cNvSpPr txBox="1">
            <a:spLocks/>
          </p:cNvSpPr>
          <p:nvPr/>
        </p:nvSpPr>
        <p:spPr>
          <a:xfrm>
            <a:off x="4691844" y="1979839"/>
            <a:ext cx="6441675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+mj-cs"/>
              </a:rPr>
              <a:t>Выбрать товарную секцию</a:t>
            </a:r>
          </a:p>
        </p:txBody>
      </p:sp>
      <p:sp>
        <p:nvSpPr>
          <p:cNvPr id="25" name="Заголовок 8"/>
          <p:cNvSpPr txBox="1">
            <a:spLocks/>
          </p:cNvSpPr>
          <p:nvPr/>
        </p:nvSpPr>
        <p:spPr>
          <a:xfrm>
            <a:off x="4691844" y="2948047"/>
            <a:ext cx="6475867" cy="80938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2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j-cs"/>
              </a:rPr>
              <a:t>Получить электронную подпись </a:t>
            </a:r>
            <a:b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j-cs"/>
              </a:rPr>
            </a:b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j-cs"/>
              </a:rPr>
              <a:t>и аккредитоваться </a:t>
            </a:r>
          </a:p>
        </p:txBody>
      </p:sp>
      <p:sp>
        <p:nvSpPr>
          <p:cNvPr id="26" name="Заголовок 8"/>
          <p:cNvSpPr txBox="1">
            <a:spLocks/>
          </p:cNvSpPr>
          <p:nvPr/>
        </p:nvSpPr>
        <p:spPr>
          <a:xfrm>
            <a:off x="4735715" y="4161289"/>
            <a:ext cx="6441675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j-cs"/>
              </a:rPr>
              <a:t>Пройти обучение </a:t>
            </a:r>
          </a:p>
        </p:txBody>
      </p:sp>
      <p:sp>
        <p:nvSpPr>
          <p:cNvPr id="27" name="Заголовок 8"/>
          <p:cNvSpPr txBox="1">
            <a:spLocks/>
          </p:cNvSpPr>
          <p:nvPr/>
        </p:nvSpPr>
        <p:spPr>
          <a:xfrm>
            <a:off x="4726036" y="5250140"/>
            <a:ext cx="6441675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j-cs"/>
              </a:rPr>
              <a:t>Участвовать в торгах</a:t>
            </a:r>
          </a:p>
        </p:txBody>
      </p:sp>
      <p:sp>
        <p:nvSpPr>
          <p:cNvPr id="12" name="Google Shape;254;p28">
            <a:extLst>
              <a:ext uri="{FF2B5EF4-FFF2-40B4-BE49-F238E27FC236}">
                <a16:creationId xmlns:a16="http://schemas.microsoft.com/office/drawing/2014/main" id="{AFC66C8A-C63D-45C0-89A5-F9B4F45ABD4A}"/>
              </a:ext>
            </a:extLst>
          </p:cNvPr>
          <p:cNvSpPr/>
          <p:nvPr/>
        </p:nvSpPr>
        <p:spPr>
          <a:xfrm>
            <a:off x="509893" y="4509120"/>
            <a:ext cx="1805687" cy="1754155"/>
          </a:xfrm>
          <a:prstGeom prst="ellipse">
            <a:avLst/>
          </a:prstGeom>
          <a:solidFill>
            <a:srgbClr val="4DAA59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68846" tIns="43339" rIns="482168" bIns="43339" numCol="1" spcCol="1270" anchor="ctr" anchorCtr="0">
            <a:noAutofit/>
          </a:bodyPr>
          <a:lstStyle/>
          <a:p>
            <a:pPr algn="ctr" defTabSz="14446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sz="3250" dirty="0">
              <a:solidFill>
                <a:srgbClr val="4DAA59"/>
              </a:solidFill>
              <a:latin typeface="Arial" panose="020B0604020202020204" pitchFamily="34" charset="0"/>
              <a:sym typeface="Roboto" pitchFamily="2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9ECA33A-D24E-443B-B0D6-2895296D47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81" y="4747842"/>
            <a:ext cx="1276709" cy="1276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8707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" t="33832" r="-202" b="-7790"/>
          <a:stretch/>
        </p:blipFill>
        <p:spPr>
          <a:xfrm>
            <a:off x="1" y="-27383"/>
            <a:ext cx="12216680" cy="6776434"/>
          </a:xfrm>
          <a:prstGeom prst="rect">
            <a:avLst/>
          </a:prstGeom>
        </p:spPr>
      </p:pic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0" y="4941167"/>
            <a:ext cx="12192000" cy="1800201"/>
          </a:xfrm>
          <a:gradFill flip="none" rotWithShape="1">
            <a:gsLst>
              <a:gs pos="0">
                <a:srgbClr val="273B19"/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rgbClr val="273B19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/>
          <a:p>
            <a:r>
              <a:rPr lang="ru-RU" sz="4000" dirty="0">
                <a:solidFill>
                  <a:schemeClr val="bg1"/>
                </a:solidFill>
              </a:rPr>
              <a:t>БУДЬ С НАМИ – ТОРГУЙ СО </a:t>
            </a:r>
            <a:r>
              <a:rPr lang="ru-RU" sz="4000">
                <a:solidFill>
                  <a:schemeClr val="bg1"/>
                </a:solidFill>
              </a:rPr>
              <a:t>ВСЕМ МИРОМ!</a:t>
            </a:r>
            <a:endParaRPr lang="ru-RU" sz="4000" dirty="0">
              <a:solidFill>
                <a:schemeClr val="bg1"/>
              </a:solidFill>
            </a:endParaRPr>
          </a:p>
        </p:txBody>
      </p:sp>
      <p:sp>
        <p:nvSpPr>
          <p:cNvPr id="3" name="AutoShape 3"/>
          <p:cNvSpPr>
            <a:spLocks noChangeAspect="1" noChangeArrowheads="1" noTextEdit="1"/>
          </p:cNvSpPr>
          <p:nvPr/>
        </p:nvSpPr>
        <p:spPr bwMode="auto">
          <a:xfrm>
            <a:off x="4367213" y="549275"/>
            <a:ext cx="3341687" cy="331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332656"/>
            <a:ext cx="2544958" cy="704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30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9376" y="2168860"/>
            <a:ext cx="2919009" cy="1095507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Биржа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в цифрах</a:t>
            </a:r>
          </a:p>
        </p:txBody>
      </p:sp>
      <p:grpSp>
        <p:nvGrpSpPr>
          <p:cNvPr id="15" name="Google Shape;15201;p81"/>
          <p:cNvGrpSpPr/>
          <p:nvPr/>
        </p:nvGrpSpPr>
        <p:grpSpPr>
          <a:xfrm>
            <a:off x="849633" y="4872527"/>
            <a:ext cx="677780" cy="679581"/>
            <a:chOff x="-1333200" y="2770450"/>
            <a:chExt cx="291450" cy="292225"/>
          </a:xfrm>
        </p:grpSpPr>
        <p:sp>
          <p:nvSpPr>
            <p:cNvPr id="16" name="Google Shape;15202;p81"/>
            <p:cNvSpPr/>
            <p:nvPr/>
          </p:nvSpPr>
          <p:spPr>
            <a:xfrm>
              <a:off x="-1299325" y="2808250"/>
              <a:ext cx="222925" cy="134725"/>
            </a:xfrm>
            <a:custGeom>
              <a:avLst/>
              <a:gdLst/>
              <a:ahLst/>
              <a:cxnLst/>
              <a:rect l="l" t="t" r="r" b="b"/>
              <a:pathLst>
                <a:path w="8917" h="5389" extrusionOk="0">
                  <a:moveTo>
                    <a:pt x="7877" y="631"/>
                  </a:moveTo>
                  <a:cubicBezTo>
                    <a:pt x="8066" y="631"/>
                    <a:pt x="8223" y="789"/>
                    <a:pt x="8223" y="978"/>
                  </a:cubicBezTo>
                  <a:cubicBezTo>
                    <a:pt x="8223" y="1167"/>
                    <a:pt x="8066" y="1324"/>
                    <a:pt x="7877" y="1324"/>
                  </a:cubicBezTo>
                  <a:cubicBezTo>
                    <a:pt x="7656" y="1324"/>
                    <a:pt x="7498" y="1167"/>
                    <a:pt x="7498" y="978"/>
                  </a:cubicBezTo>
                  <a:cubicBezTo>
                    <a:pt x="7498" y="789"/>
                    <a:pt x="7656" y="631"/>
                    <a:pt x="7877" y="631"/>
                  </a:cubicBezTo>
                  <a:close/>
                  <a:moveTo>
                    <a:pt x="3056" y="1293"/>
                  </a:moveTo>
                  <a:cubicBezTo>
                    <a:pt x="3245" y="1293"/>
                    <a:pt x="3403" y="1450"/>
                    <a:pt x="3403" y="1639"/>
                  </a:cubicBezTo>
                  <a:cubicBezTo>
                    <a:pt x="3403" y="1828"/>
                    <a:pt x="3245" y="1986"/>
                    <a:pt x="3056" y="1986"/>
                  </a:cubicBezTo>
                  <a:cubicBezTo>
                    <a:pt x="2867" y="1986"/>
                    <a:pt x="2710" y="1828"/>
                    <a:pt x="2710" y="1639"/>
                  </a:cubicBezTo>
                  <a:cubicBezTo>
                    <a:pt x="2741" y="1450"/>
                    <a:pt x="2899" y="1293"/>
                    <a:pt x="3056" y="1293"/>
                  </a:cubicBezTo>
                  <a:close/>
                  <a:moveTo>
                    <a:pt x="5797" y="3340"/>
                  </a:moveTo>
                  <a:cubicBezTo>
                    <a:pt x="6018" y="3340"/>
                    <a:pt x="6175" y="3498"/>
                    <a:pt x="6175" y="3687"/>
                  </a:cubicBezTo>
                  <a:cubicBezTo>
                    <a:pt x="6175" y="3876"/>
                    <a:pt x="6018" y="4034"/>
                    <a:pt x="5797" y="4034"/>
                  </a:cubicBezTo>
                  <a:cubicBezTo>
                    <a:pt x="5608" y="4034"/>
                    <a:pt x="5451" y="3876"/>
                    <a:pt x="5451" y="3687"/>
                  </a:cubicBezTo>
                  <a:cubicBezTo>
                    <a:pt x="5451" y="3498"/>
                    <a:pt x="5608" y="3340"/>
                    <a:pt x="5797" y="3340"/>
                  </a:cubicBezTo>
                  <a:close/>
                  <a:moveTo>
                    <a:pt x="1008" y="4034"/>
                  </a:moveTo>
                  <a:cubicBezTo>
                    <a:pt x="1198" y="4034"/>
                    <a:pt x="1355" y="4191"/>
                    <a:pt x="1355" y="4412"/>
                  </a:cubicBezTo>
                  <a:cubicBezTo>
                    <a:pt x="1355" y="4601"/>
                    <a:pt x="1198" y="4758"/>
                    <a:pt x="1008" y="4758"/>
                  </a:cubicBezTo>
                  <a:cubicBezTo>
                    <a:pt x="819" y="4758"/>
                    <a:pt x="662" y="4601"/>
                    <a:pt x="662" y="4412"/>
                  </a:cubicBezTo>
                  <a:cubicBezTo>
                    <a:pt x="662" y="4191"/>
                    <a:pt x="819" y="4034"/>
                    <a:pt x="1008" y="4034"/>
                  </a:cubicBezTo>
                  <a:close/>
                  <a:moveTo>
                    <a:pt x="7908" y="1"/>
                  </a:moveTo>
                  <a:cubicBezTo>
                    <a:pt x="7341" y="1"/>
                    <a:pt x="6868" y="474"/>
                    <a:pt x="6868" y="1009"/>
                  </a:cubicBezTo>
                  <a:cubicBezTo>
                    <a:pt x="6868" y="1198"/>
                    <a:pt x="6963" y="1419"/>
                    <a:pt x="7026" y="1576"/>
                  </a:cubicBezTo>
                  <a:lnTo>
                    <a:pt x="6112" y="2742"/>
                  </a:lnTo>
                  <a:cubicBezTo>
                    <a:pt x="6032" y="2722"/>
                    <a:pt x="5943" y="2711"/>
                    <a:pt x="5850" y="2711"/>
                  </a:cubicBezTo>
                  <a:cubicBezTo>
                    <a:pt x="5650" y="2711"/>
                    <a:pt x="5434" y="2760"/>
                    <a:pt x="5262" y="2868"/>
                  </a:cubicBezTo>
                  <a:lnTo>
                    <a:pt x="4096" y="1954"/>
                  </a:lnTo>
                  <a:cubicBezTo>
                    <a:pt x="4127" y="1891"/>
                    <a:pt x="4127" y="1765"/>
                    <a:pt x="4127" y="1639"/>
                  </a:cubicBezTo>
                  <a:cubicBezTo>
                    <a:pt x="4127" y="1104"/>
                    <a:pt x="3655" y="631"/>
                    <a:pt x="3088" y="631"/>
                  </a:cubicBezTo>
                  <a:cubicBezTo>
                    <a:pt x="2552" y="631"/>
                    <a:pt x="2080" y="1104"/>
                    <a:pt x="2080" y="1639"/>
                  </a:cubicBezTo>
                  <a:cubicBezTo>
                    <a:pt x="2080" y="1828"/>
                    <a:pt x="2143" y="2049"/>
                    <a:pt x="2237" y="2206"/>
                  </a:cubicBezTo>
                  <a:lnTo>
                    <a:pt x="1324" y="3372"/>
                  </a:lnTo>
                  <a:cubicBezTo>
                    <a:pt x="1261" y="3340"/>
                    <a:pt x="1134" y="3340"/>
                    <a:pt x="1008" y="3340"/>
                  </a:cubicBezTo>
                  <a:cubicBezTo>
                    <a:pt x="441" y="3340"/>
                    <a:pt x="0" y="3813"/>
                    <a:pt x="0" y="4349"/>
                  </a:cubicBezTo>
                  <a:cubicBezTo>
                    <a:pt x="0" y="4947"/>
                    <a:pt x="441" y="5388"/>
                    <a:pt x="1008" y="5388"/>
                  </a:cubicBezTo>
                  <a:cubicBezTo>
                    <a:pt x="1576" y="5388"/>
                    <a:pt x="2017" y="4916"/>
                    <a:pt x="2017" y="4349"/>
                  </a:cubicBezTo>
                  <a:cubicBezTo>
                    <a:pt x="2017" y="4160"/>
                    <a:pt x="1954" y="3971"/>
                    <a:pt x="1859" y="3813"/>
                  </a:cubicBezTo>
                  <a:lnTo>
                    <a:pt x="2773" y="2616"/>
                  </a:lnTo>
                  <a:cubicBezTo>
                    <a:pt x="2875" y="2650"/>
                    <a:pt x="2980" y="2667"/>
                    <a:pt x="3087" y="2667"/>
                  </a:cubicBezTo>
                  <a:cubicBezTo>
                    <a:pt x="3278" y="2667"/>
                    <a:pt x="3473" y="2611"/>
                    <a:pt x="3655" y="2490"/>
                  </a:cubicBezTo>
                  <a:lnTo>
                    <a:pt x="4821" y="3403"/>
                  </a:lnTo>
                  <a:cubicBezTo>
                    <a:pt x="4789" y="3498"/>
                    <a:pt x="4789" y="3624"/>
                    <a:pt x="4789" y="3719"/>
                  </a:cubicBezTo>
                  <a:cubicBezTo>
                    <a:pt x="4789" y="4286"/>
                    <a:pt x="5262" y="4758"/>
                    <a:pt x="5797" y="4758"/>
                  </a:cubicBezTo>
                  <a:cubicBezTo>
                    <a:pt x="6364" y="4758"/>
                    <a:pt x="6837" y="4286"/>
                    <a:pt x="6837" y="3719"/>
                  </a:cubicBezTo>
                  <a:cubicBezTo>
                    <a:pt x="6837" y="3529"/>
                    <a:pt x="6742" y="3340"/>
                    <a:pt x="6679" y="3183"/>
                  </a:cubicBezTo>
                  <a:lnTo>
                    <a:pt x="7593" y="1986"/>
                  </a:lnTo>
                  <a:cubicBezTo>
                    <a:pt x="7656" y="2049"/>
                    <a:pt x="7782" y="2049"/>
                    <a:pt x="7908" y="2049"/>
                  </a:cubicBezTo>
                  <a:cubicBezTo>
                    <a:pt x="8444" y="2049"/>
                    <a:pt x="8916" y="1576"/>
                    <a:pt x="8916" y="1009"/>
                  </a:cubicBezTo>
                  <a:cubicBezTo>
                    <a:pt x="8916" y="474"/>
                    <a:pt x="8444" y="1"/>
                    <a:pt x="790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7" name="Google Shape;15203;p81"/>
            <p:cNvSpPr/>
            <p:nvPr/>
          </p:nvSpPr>
          <p:spPr>
            <a:xfrm>
              <a:off x="-1333200" y="2770450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586" y="725"/>
                  </a:moveTo>
                  <a:cubicBezTo>
                    <a:pt x="10807" y="725"/>
                    <a:pt x="10964" y="883"/>
                    <a:pt x="10964" y="1072"/>
                  </a:cubicBezTo>
                  <a:lnTo>
                    <a:pt x="10964" y="7593"/>
                  </a:lnTo>
                  <a:lnTo>
                    <a:pt x="631" y="7593"/>
                  </a:lnTo>
                  <a:lnTo>
                    <a:pt x="631" y="1072"/>
                  </a:lnTo>
                  <a:cubicBezTo>
                    <a:pt x="662" y="883"/>
                    <a:pt x="820" y="725"/>
                    <a:pt x="977" y="725"/>
                  </a:cubicBezTo>
                  <a:close/>
                  <a:moveTo>
                    <a:pt x="10996" y="8286"/>
                  </a:moveTo>
                  <a:lnTo>
                    <a:pt x="10996" y="8633"/>
                  </a:lnTo>
                  <a:cubicBezTo>
                    <a:pt x="10996" y="8822"/>
                    <a:pt x="10838" y="8980"/>
                    <a:pt x="10618" y="8980"/>
                  </a:cubicBezTo>
                  <a:lnTo>
                    <a:pt x="1009" y="8980"/>
                  </a:lnTo>
                  <a:cubicBezTo>
                    <a:pt x="820" y="8980"/>
                    <a:pt x="662" y="8822"/>
                    <a:pt x="662" y="8633"/>
                  </a:cubicBezTo>
                  <a:lnTo>
                    <a:pt x="662" y="8286"/>
                  </a:lnTo>
                  <a:close/>
                  <a:moveTo>
                    <a:pt x="6617" y="9641"/>
                  </a:moveTo>
                  <a:lnTo>
                    <a:pt x="6932" y="11027"/>
                  </a:lnTo>
                  <a:lnTo>
                    <a:pt x="4632" y="11027"/>
                  </a:lnTo>
                  <a:lnTo>
                    <a:pt x="4947" y="9641"/>
                  </a:lnTo>
                  <a:close/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8570"/>
                  </a:lnTo>
                  <a:cubicBezTo>
                    <a:pt x="1" y="9137"/>
                    <a:pt x="473" y="9610"/>
                    <a:pt x="1009" y="9610"/>
                  </a:cubicBezTo>
                  <a:lnTo>
                    <a:pt x="4285" y="9610"/>
                  </a:lnTo>
                  <a:lnTo>
                    <a:pt x="3970" y="10996"/>
                  </a:lnTo>
                  <a:lnTo>
                    <a:pt x="3057" y="10996"/>
                  </a:lnTo>
                  <a:cubicBezTo>
                    <a:pt x="2868" y="10996"/>
                    <a:pt x="2710" y="11153"/>
                    <a:pt x="2710" y="11342"/>
                  </a:cubicBezTo>
                  <a:cubicBezTo>
                    <a:pt x="2710" y="11531"/>
                    <a:pt x="2868" y="11689"/>
                    <a:pt x="3057" y="11689"/>
                  </a:cubicBezTo>
                  <a:lnTo>
                    <a:pt x="8538" y="11689"/>
                  </a:lnTo>
                  <a:cubicBezTo>
                    <a:pt x="8727" y="11689"/>
                    <a:pt x="8885" y="11531"/>
                    <a:pt x="8885" y="11342"/>
                  </a:cubicBezTo>
                  <a:cubicBezTo>
                    <a:pt x="8885" y="11153"/>
                    <a:pt x="8727" y="10996"/>
                    <a:pt x="8538" y="10996"/>
                  </a:cubicBezTo>
                  <a:lnTo>
                    <a:pt x="7625" y="10996"/>
                  </a:lnTo>
                  <a:lnTo>
                    <a:pt x="7310" y="9610"/>
                  </a:lnTo>
                  <a:lnTo>
                    <a:pt x="10618" y="9610"/>
                  </a:lnTo>
                  <a:cubicBezTo>
                    <a:pt x="11185" y="9610"/>
                    <a:pt x="11657" y="9137"/>
                    <a:pt x="11657" y="8570"/>
                  </a:cubicBezTo>
                  <a:lnTo>
                    <a:pt x="11657" y="1040"/>
                  </a:lnTo>
                  <a:cubicBezTo>
                    <a:pt x="11657" y="473"/>
                    <a:pt x="11185" y="1"/>
                    <a:pt x="1061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5519936" y="1903184"/>
            <a:ext cx="9136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71609" y="1975818"/>
            <a:ext cx="14401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рд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96200" y="1975817"/>
            <a:ext cx="32403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годовой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товарооборот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23537" y="332656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</a:t>
            </a: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лет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96200" y="394210"/>
            <a:ext cx="32403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успешной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работы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83732" y="3501008"/>
            <a:ext cx="40280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00 000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896200" y="3748102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делок в год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683732" y="5085184"/>
            <a:ext cx="40280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8 000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96200" y="5423737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2341353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655840" y="603097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8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77909" y="972428"/>
            <a:ext cx="19505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экспорт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907857" y="2154497"/>
            <a:ext cx="28680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6 000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575750" y="2360302"/>
            <a:ext cx="4316894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иностранных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участнико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030792" y="5162898"/>
            <a:ext cx="15548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60755" y="5470131"/>
            <a:ext cx="260654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тран мира 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479376" y="1700808"/>
            <a:ext cx="3207113" cy="1738779"/>
          </a:xfrm>
        </p:spPr>
        <p:txBody>
          <a:bodyPr>
            <a:noAutofit/>
          </a:bodyPr>
          <a:lstStyle/>
          <a:p>
            <a:r>
              <a:rPr lang="ru-RU" dirty="0">
                <a:sym typeface="Roboto" pitchFamily="2" charset="0"/>
              </a:rPr>
              <a:t>Ключевые</a:t>
            </a:r>
            <a:r>
              <a:rPr lang="en-US" dirty="0">
                <a:sym typeface="Roboto" pitchFamily="2" charset="0"/>
              </a:rPr>
              <a:t>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показатели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внешней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торговл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FDF1C2C-BE4D-49C6-9998-4F320F44D5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2482321"/>
            <a:ext cx="1657558" cy="165755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846538-8E1D-41E9-A509-93B95F6401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207" y="4612842"/>
            <a:ext cx="1921648" cy="192164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51544D2-7562-4C89-8B6F-7A27769DD1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704" y="2741406"/>
            <a:ext cx="946386" cy="94638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13E551F-04A3-49D5-AED2-F3607AA151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374146"/>
            <a:ext cx="1250985" cy="125098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E9B67D8-C9DF-4229-A619-E2E542E08C0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18" y="5133092"/>
            <a:ext cx="906426" cy="90642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690722" y="834043"/>
            <a:ext cx="1440160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н </a:t>
            </a:r>
            <a:b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9376" y="3935996"/>
            <a:ext cx="1297739" cy="393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021 г.</a:t>
            </a:r>
          </a:p>
        </p:txBody>
      </p:sp>
      <p:sp>
        <p:nvSpPr>
          <p:cNvPr id="28" name="Block Arc 41">
            <a:extLst>
              <a:ext uri="{FF2B5EF4-FFF2-40B4-BE49-F238E27FC236}">
                <a16:creationId xmlns:a16="http://schemas.microsoft.com/office/drawing/2014/main" id="{40FC1325-B513-4571-8F58-47CC2C19395B}"/>
              </a:ext>
            </a:extLst>
          </p:cNvPr>
          <p:cNvSpPr/>
          <p:nvPr/>
        </p:nvSpPr>
        <p:spPr>
          <a:xfrm>
            <a:off x="911424" y="4833156"/>
            <a:ext cx="533968" cy="703020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554249" y="3941765"/>
            <a:ext cx="20589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603</a:t>
            </a:r>
            <a:endParaRPr kumimoji="0" lang="ru-RU" sz="80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28988" y="4181640"/>
            <a:ext cx="3421912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овых компаний-</a:t>
            </a: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ерезидентов</a:t>
            </a:r>
          </a:p>
        </p:txBody>
      </p:sp>
    </p:spTree>
    <p:extLst>
      <p:ext uri="{BB962C8B-B14F-4D97-AF65-F5344CB8AC3E}">
        <p14:creationId xmlns:p14="http://schemas.microsoft.com/office/powerpoint/2010/main" val="832755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7FE0BE7-3FB1-4F77-8652-2AAEAE7DD4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3645024"/>
            <a:ext cx="1788916" cy="1788916"/>
          </a:xfrm>
          <a:prstGeom prst="rect">
            <a:avLst/>
          </a:prstGeom>
        </p:spPr>
      </p:pic>
      <p:graphicFrame>
        <p:nvGraphicFramePr>
          <p:cNvPr id="7" name="Диаграмма 6"/>
          <p:cNvGraphicFramePr/>
          <p:nvPr/>
        </p:nvGraphicFramePr>
        <p:xfrm>
          <a:off x="2711624" y="332655"/>
          <a:ext cx="8784975" cy="633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Block Arc 41">
            <a:extLst>
              <a:ext uri="{FF2B5EF4-FFF2-40B4-BE49-F238E27FC236}">
                <a16:creationId xmlns:a16="http://schemas.microsoft.com/office/drawing/2014/main" id="{40FC1325-B513-4571-8F58-47CC2C19395B}"/>
              </a:ext>
            </a:extLst>
          </p:cNvPr>
          <p:cNvSpPr/>
          <p:nvPr/>
        </p:nvSpPr>
        <p:spPr>
          <a:xfrm>
            <a:off x="911424" y="4833156"/>
            <a:ext cx="533968" cy="703020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99356" y="1920940"/>
            <a:ext cx="3456384" cy="1872208"/>
          </a:xfrm>
        </p:spPr>
        <p:txBody>
          <a:bodyPr>
            <a:normAutofit/>
          </a:bodyPr>
          <a:lstStyle/>
          <a:p>
            <a:r>
              <a:rPr lang="ru-RU" dirty="0">
                <a:sym typeface="Roboto" pitchFamily="2" charset="0"/>
              </a:rPr>
              <a:t>Основные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торговые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партнер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FAE707-102A-4F65-9A9D-9B01E9D7D10A}"/>
              </a:ext>
            </a:extLst>
          </p:cNvPr>
          <p:cNvSpPr txBox="1"/>
          <p:nvPr/>
        </p:nvSpPr>
        <p:spPr>
          <a:xfrm>
            <a:off x="6492044" y="5805264"/>
            <a:ext cx="53285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/>
              <a:t>Объем внешнеторговых сделок</a:t>
            </a:r>
            <a:endParaRPr lang="en-US" sz="2000" dirty="0"/>
          </a:p>
          <a:p>
            <a:pPr algn="r"/>
            <a:r>
              <a:rPr lang="ru-RU" sz="2000" dirty="0"/>
              <a:t>в 2021 г., млн </a:t>
            </a:r>
            <a:r>
              <a:rPr lang="en-US" sz="2000" dirty="0"/>
              <a:t>USD</a:t>
            </a:r>
            <a:endParaRPr lang="ru-RU" sz="20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E6DB870-67D0-452E-9389-5FCC3EEB923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656" y="1103878"/>
            <a:ext cx="946386" cy="94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98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46" b="9946"/>
          <a:stretch>
            <a:fillRect/>
          </a:stretch>
        </p:blipFill>
        <p:spPr/>
      </p:pic>
      <p:pic>
        <p:nvPicPr>
          <p:cNvPr id="11" name="Рисунок 10"/>
          <p:cNvPicPr>
            <a:picLocks noGrp="1" noChangeAspect="1"/>
          </p:cNvPicPr>
          <p:nvPr>
            <p:ph type="pic" idx="1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24" y="4547453"/>
            <a:ext cx="1728192" cy="887858"/>
          </a:xfrm>
        </p:spPr>
      </p:pic>
      <p:pic>
        <p:nvPicPr>
          <p:cNvPr id="12" name="Рисунок 11"/>
          <p:cNvPicPr>
            <a:picLocks noGrp="1" noChangeAspect="1"/>
          </p:cNvPicPr>
          <p:nvPr>
            <p:ph type="pic" idx="1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98"/>
          <a:stretch/>
        </p:blipFill>
        <p:spPr>
          <a:xfrm>
            <a:off x="911425" y="5589240"/>
            <a:ext cx="1728192" cy="924407"/>
          </a:xfrm>
        </p:spPr>
      </p:pic>
      <p:pic>
        <p:nvPicPr>
          <p:cNvPr id="6" name="Рисунок 5"/>
          <p:cNvPicPr>
            <a:picLocks noGrp="1" noChangeAspect="1"/>
          </p:cNvPicPr>
          <p:nvPr>
            <p:ph type="pic"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24" y="2382838"/>
            <a:ext cx="1728391" cy="923925"/>
          </a:xfrm>
        </p:spPr>
      </p:pic>
      <p:pic>
        <p:nvPicPr>
          <p:cNvPr id="8" name="Рисунок 7"/>
          <p:cNvPicPr>
            <a:picLocks noGrp="1" noChangeAspect="1"/>
          </p:cNvPicPr>
          <p:nvPr>
            <p:ph type="pic"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25" y="1345142"/>
            <a:ext cx="1728788" cy="851428"/>
          </a:xfrm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395700" y="404664"/>
            <a:ext cx="820891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dirty="0">
                <a:sym typeface="Roboto" pitchFamily="2" charset="0"/>
              </a:rPr>
              <a:t>5 товарных секций</a:t>
            </a: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3215680" y="1482813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>
                <a:sym typeface="Roboto" pitchFamily="2" charset="0"/>
              </a:rPr>
              <a:t>Металлопродукция</a:t>
            </a:r>
          </a:p>
        </p:txBody>
      </p:sp>
      <p:sp>
        <p:nvSpPr>
          <p:cNvPr id="40" name="Заголовок 1"/>
          <p:cNvSpPr txBox="1">
            <a:spLocks/>
          </p:cNvSpPr>
          <p:nvPr/>
        </p:nvSpPr>
        <p:spPr>
          <a:xfrm>
            <a:off x="3215680" y="2556766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 err="1">
                <a:sym typeface="Roboto" pitchFamily="2" charset="0"/>
              </a:rPr>
              <a:t>Лесопродукция</a:t>
            </a:r>
            <a:endParaRPr lang="ru-RU" b="0" dirty="0">
              <a:sym typeface="Roboto" pitchFamily="2" charset="0"/>
            </a:endParaRPr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3215680" y="3630719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>
                <a:sym typeface="Roboto" pitchFamily="2" charset="0"/>
              </a:rPr>
              <a:t>Сельхозпродукция</a:t>
            </a:r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215680" y="4704672"/>
            <a:ext cx="8712968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>
                <a:sym typeface="Roboto" pitchFamily="2" charset="0"/>
              </a:rPr>
              <a:t>Промышленные и потребительские товары</a:t>
            </a: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3215680" y="5778625"/>
            <a:ext cx="8352928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>
                <a:sym typeface="Roboto" pitchFamily="2" charset="0"/>
              </a:rPr>
              <a:t>Нефтепродукты и электроэнергия</a:t>
            </a:r>
          </a:p>
        </p:txBody>
      </p:sp>
    </p:spTree>
    <p:extLst>
      <p:ext uri="{BB962C8B-B14F-4D97-AF65-F5344CB8AC3E}">
        <p14:creationId xmlns:p14="http://schemas.microsoft.com/office/powerpoint/2010/main" val="4016678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C8CDD05-4C78-4F5A-A7FC-F22371E1C9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0" name="Слайд think-cell" r:id="rId5" imgW="408" imgH="408" progId="TCLayout.ActiveDocument.1">
                  <p:embed/>
                </p:oleObj>
              </mc:Choice>
              <mc:Fallback>
                <p:oleObj name="Слайд think-cell" r:id="rId5" imgW="408" imgH="40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C8CDD05-4C78-4F5A-A7FC-F22371E1C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TextBox 137">
            <a:extLst>
              <a:ext uri="{FF2B5EF4-FFF2-40B4-BE49-F238E27FC236}">
                <a16:creationId xmlns:a16="http://schemas.microsoft.com/office/drawing/2014/main" id="{71E98D7A-98CE-4E17-9929-94DE75441654}"/>
              </a:ext>
            </a:extLst>
          </p:cNvPr>
          <p:cNvSpPr txBox="1"/>
          <p:nvPr/>
        </p:nvSpPr>
        <p:spPr>
          <a:xfrm>
            <a:off x="555501" y="2636912"/>
            <a:ext cx="1979921" cy="354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sym typeface="Roboto" pitchFamily="2" charset="0"/>
              </a:rPr>
              <a:t>2010-202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sym typeface="Roboto" pitchFamily="2" charset="0"/>
              </a:rPr>
              <a:t>гг.</a:t>
            </a:r>
          </a:p>
        </p:txBody>
      </p:sp>
      <p:sp>
        <p:nvSpPr>
          <p:cNvPr id="142" name="Заголовок 1"/>
          <p:cNvSpPr>
            <a:spLocks noGrp="1"/>
          </p:cNvSpPr>
          <p:nvPr>
            <p:ph type="title"/>
          </p:nvPr>
        </p:nvSpPr>
        <p:spPr>
          <a:xfrm>
            <a:off x="303325" y="1973170"/>
            <a:ext cx="3298334" cy="1396908"/>
          </a:xfrm>
        </p:spPr>
        <p:txBody>
          <a:bodyPr>
            <a:noAutofit/>
          </a:bodyPr>
          <a:lstStyle/>
          <a:p>
            <a:r>
              <a:rPr lang="ru-RU" sz="2500" dirty="0">
                <a:sym typeface="Roboto" pitchFamily="2" charset="0"/>
              </a:rPr>
              <a:t>Динамика </a:t>
            </a:r>
            <a:br>
              <a:rPr lang="ru-RU" sz="2500" dirty="0">
                <a:sym typeface="Roboto" pitchFamily="2" charset="0"/>
              </a:rPr>
            </a:br>
            <a:r>
              <a:rPr lang="ru-RU" sz="2500" dirty="0">
                <a:sym typeface="Roboto" pitchFamily="2" charset="0"/>
              </a:rPr>
              <a:t>реализации</a:t>
            </a:r>
            <a:r>
              <a:rPr lang="en-US" sz="2500" dirty="0">
                <a:sym typeface="Roboto" pitchFamily="2" charset="0"/>
              </a:rPr>
              <a:t> </a:t>
            </a:r>
            <a:br>
              <a:rPr lang="ru-RU" sz="2500" dirty="0">
                <a:sym typeface="Roboto" pitchFamily="2" charset="0"/>
              </a:rPr>
            </a:br>
            <a:r>
              <a:rPr lang="ru-RU" sz="2500" dirty="0">
                <a:sym typeface="Roboto" pitchFamily="2" charset="0"/>
              </a:rPr>
              <a:t>сельхозпродукции</a:t>
            </a:r>
          </a:p>
        </p:txBody>
      </p:sp>
      <p:sp>
        <p:nvSpPr>
          <p:cNvPr id="150" name="Заголовок 1"/>
          <p:cNvSpPr txBox="1">
            <a:spLocks/>
          </p:cNvSpPr>
          <p:nvPr/>
        </p:nvSpPr>
        <p:spPr>
          <a:xfrm>
            <a:off x="303325" y="3485765"/>
            <a:ext cx="2484276" cy="12677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ym typeface="Roboto" pitchFamily="2" charset="0"/>
              </a:rPr>
              <a:t>201</a:t>
            </a:r>
            <a:r>
              <a:rPr lang="en-US" sz="2000" dirty="0">
                <a:sym typeface="Roboto" pitchFamily="2" charset="0"/>
              </a:rPr>
              <a:t>7</a:t>
            </a:r>
            <a:r>
              <a:rPr lang="ru-RU" sz="2000" dirty="0">
                <a:sym typeface="Roboto" pitchFamily="2" charset="0"/>
              </a:rPr>
              <a:t>-2021 гг.</a:t>
            </a:r>
          </a:p>
        </p:txBody>
      </p:sp>
      <p:sp>
        <p:nvSpPr>
          <p:cNvPr id="139" name="Rectangle 7">
            <a:extLst>
              <a:ext uri="{FF2B5EF4-FFF2-40B4-BE49-F238E27FC236}">
                <a16:creationId xmlns:a16="http://schemas.microsoft.com/office/drawing/2014/main" id="{C62ABD80-4BAC-4AA0-972A-30C0B627D475}"/>
              </a:ext>
            </a:extLst>
          </p:cNvPr>
          <p:cNvSpPr/>
          <p:nvPr/>
        </p:nvSpPr>
        <p:spPr>
          <a:xfrm>
            <a:off x="911423" y="4869160"/>
            <a:ext cx="634039" cy="640824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graphicFrame>
        <p:nvGraphicFramePr>
          <p:cNvPr id="151" name="Диаграмма 150"/>
          <p:cNvGraphicFramePr>
            <a:graphicFrameLocks/>
          </p:cNvGraphicFramePr>
          <p:nvPr/>
        </p:nvGraphicFramePr>
        <p:xfrm>
          <a:off x="3323692" y="332656"/>
          <a:ext cx="8734710" cy="6156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84631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814" y="2995191"/>
            <a:ext cx="2647950" cy="2198005"/>
          </a:xfrm>
          <a:prstGeom prst="rect">
            <a:avLst/>
          </a:prstGeom>
        </p:spPr>
      </p:pic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295240" y="2044171"/>
            <a:ext cx="4699779" cy="1749247"/>
          </a:xfrm>
        </p:spPr>
        <p:txBody>
          <a:bodyPr>
            <a:noAutofit/>
          </a:bodyPr>
          <a:lstStyle/>
          <a:p>
            <a:r>
              <a:rPr lang="ru-RU" dirty="0">
                <a:sym typeface="Roboto" pitchFamily="2" charset="0"/>
              </a:rPr>
              <a:t>Торги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сельхозпродукцией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228348" y="119675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8984861" y="2679541"/>
            <a:ext cx="29163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оварных позиций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6806303" y="3753036"/>
            <a:ext cx="20737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30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7175209" y="5049180"/>
            <a:ext cx="738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3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012324" y="5381343"/>
            <a:ext cx="2664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за одну </a:t>
            </a:r>
            <a:br>
              <a:rPr lang="ru-RU" dirty="0"/>
            </a:br>
            <a:r>
              <a:rPr lang="ru-RU" dirty="0"/>
              <a:t>торговую сессию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4189636"/>
            <a:ext cx="1994455" cy="13970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960" y="3098254"/>
            <a:ext cx="4286250" cy="30670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976" y="4737561"/>
            <a:ext cx="2179924" cy="124536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9012324" y="4012271"/>
            <a:ext cx="29163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частников </a:t>
            </a:r>
            <a:br>
              <a:rPr lang="ru-RU" dirty="0"/>
            </a:br>
            <a:r>
              <a:rPr lang="ru-RU" dirty="0"/>
              <a:t>в каждых торгах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792565" y="5157192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accent3"/>
                </a:solidFill>
              </a:rPr>
              <a:t>млн </a:t>
            </a:r>
            <a:br>
              <a:rPr lang="ru-RU" sz="3200" dirty="0">
                <a:solidFill>
                  <a:schemeClr val="accent3"/>
                </a:solidFill>
              </a:rPr>
            </a:br>
            <a:r>
              <a:rPr lang="en-US" sz="3200" dirty="0">
                <a:solidFill>
                  <a:schemeClr val="accent3"/>
                </a:solidFill>
              </a:rPr>
              <a:t>USD</a:t>
            </a:r>
            <a:endParaRPr lang="ru-RU" sz="3200" dirty="0">
              <a:solidFill>
                <a:schemeClr val="accent3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7" y="4680457"/>
            <a:ext cx="854838" cy="854838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8958817" y="1235939"/>
            <a:ext cx="31232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умма сделок в год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4E19CCB-F8C0-4B1B-AC23-4C5E75CB348A}"/>
              </a:ext>
            </a:extLst>
          </p:cNvPr>
          <p:cNvSpPr txBox="1"/>
          <p:nvPr/>
        </p:nvSpPr>
        <p:spPr>
          <a:xfrm>
            <a:off x="5950902" y="2249577"/>
            <a:ext cx="29163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1 00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754946" y="797702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67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789828" y="1028648"/>
            <a:ext cx="1440160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н </a:t>
            </a:r>
            <a:b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830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roup 3">
            <a:extLst>
              <a:ext uri="{FF2B5EF4-FFF2-40B4-BE49-F238E27FC236}">
                <a16:creationId xmlns:a16="http://schemas.microsoft.com/office/drawing/2014/main" id="{2302FC1D-F041-4815-8E1A-94E19E07D8C5}"/>
              </a:ext>
            </a:extLst>
          </p:cNvPr>
          <p:cNvGrpSpPr/>
          <p:nvPr/>
        </p:nvGrpSpPr>
        <p:grpSpPr>
          <a:xfrm>
            <a:off x="3093958" y="541787"/>
            <a:ext cx="8901190" cy="5713863"/>
            <a:chOff x="1057275" y="2005013"/>
            <a:chExt cx="7791449" cy="3984625"/>
          </a:xfrm>
          <a:solidFill>
            <a:schemeClr val="bg1">
              <a:lumMod val="85000"/>
            </a:schemeClr>
          </a:solidFill>
        </p:grpSpPr>
        <p:sp>
          <p:nvSpPr>
            <p:cNvPr id="336" name="Freeform 3">
              <a:extLst>
                <a:ext uri="{FF2B5EF4-FFF2-40B4-BE49-F238E27FC236}">
                  <a16:creationId xmlns:a16="http://schemas.microsoft.com/office/drawing/2014/main" id="{F0C6AE6F-6F26-4189-88AC-6FE872115E7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127250" y="2486026"/>
              <a:ext cx="403225" cy="190500"/>
            </a:xfrm>
            <a:custGeom>
              <a:avLst/>
              <a:gdLst>
                <a:gd name="T0" fmla="*/ 90310 w 509"/>
                <a:gd name="T1" fmla="*/ 41275 h 240"/>
                <a:gd name="T2" fmla="*/ 93478 w 509"/>
                <a:gd name="T3" fmla="*/ 44450 h 240"/>
                <a:gd name="T4" fmla="*/ 90310 w 509"/>
                <a:gd name="T5" fmla="*/ 47625 h 240"/>
                <a:gd name="T6" fmla="*/ 76050 w 509"/>
                <a:gd name="T7" fmla="*/ 44450 h 240"/>
                <a:gd name="T8" fmla="*/ 65752 w 509"/>
                <a:gd name="T9" fmla="*/ 44450 h 240"/>
                <a:gd name="T10" fmla="*/ 55453 w 509"/>
                <a:gd name="T11" fmla="*/ 44450 h 240"/>
                <a:gd name="T12" fmla="*/ 48324 w 509"/>
                <a:gd name="T13" fmla="*/ 47625 h 240"/>
                <a:gd name="T14" fmla="*/ 34064 w 509"/>
                <a:gd name="T15" fmla="*/ 47625 h 240"/>
                <a:gd name="T16" fmla="*/ 30895 w 509"/>
                <a:gd name="T17" fmla="*/ 44450 h 240"/>
                <a:gd name="T18" fmla="*/ 23766 w 509"/>
                <a:gd name="T19" fmla="*/ 44450 h 240"/>
                <a:gd name="T20" fmla="*/ 13467 w 509"/>
                <a:gd name="T21" fmla="*/ 44450 h 240"/>
                <a:gd name="T22" fmla="*/ 6338 w 509"/>
                <a:gd name="T23" fmla="*/ 37306 h 240"/>
                <a:gd name="T24" fmla="*/ 20597 w 509"/>
                <a:gd name="T25" fmla="*/ 34131 h 240"/>
                <a:gd name="T26" fmla="*/ 30895 w 509"/>
                <a:gd name="T27" fmla="*/ 34131 h 240"/>
                <a:gd name="T28" fmla="*/ 23766 w 509"/>
                <a:gd name="T29" fmla="*/ 30956 h 240"/>
                <a:gd name="T30" fmla="*/ 13467 w 509"/>
                <a:gd name="T31" fmla="*/ 30956 h 240"/>
                <a:gd name="T32" fmla="*/ 3169 w 509"/>
                <a:gd name="T33" fmla="*/ 26988 h 240"/>
                <a:gd name="T34" fmla="*/ 10298 w 509"/>
                <a:gd name="T35" fmla="*/ 23813 h 240"/>
                <a:gd name="T36" fmla="*/ 3169 w 509"/>
                <a:gd name="T37" fmla="*/ 23813 h 240"/>
                <a:gd name="T38" fmla="*/ 0 w 509"/>
                <a:gd name="T39" fmla="*/ 20638 h 240"/>
                <a:gd name="T40" fmla="*/ 13467 w 509"/>
                <a:gd name="T41" fmla="*/ 7144 h 240"/>
                <a:gd name="T42" fmla="*/ 23766 w 509"/>
                <a:gd name="T43" fmla="*/ 7144 h 240"/>
                <a:gd name="T44" fmla="*/ 27727 w 509"/>
                <a:gd name="T45" fmla="*/ 13494 h 240"/>
                <a:gd name="T46" fmla="*/ 30895 w 509"/>
                <a:gd name="T47" fmla="*/ 7144 h 240"/>
                <a:gd name="T48" fmla="*/ 41194 w 509"/>
                <a:gd name="T49" fmla="*/ 10319 h 240"/>
                <a:gd name="T50" fmla="*/ 45155 w 509"/>
                <a:gd name="T51" fmla="*/ 13494 h 240"/>
                <a:gd name="T52" fmla="*/ 48324 w 509"/>
                <a:gd name="T53" fmla="*/ 10319 h 240"/>
                <a:gd name="T54" fmla="*/ 55453 w 509"/>
                <a:gd name="T55" fmla="*/ 10319 h 240"/>
                <a:gd name="T56" fmla="*/ 55453 w 509"/>
                <a:gd name="T57" fmla="*/ 17463 h 240"/>
                <a:gd name="T58" fmla="*/ 58622 w 509"/>
                <a:gd name="T59" fmla="*/ 20638 h 240"/>
                <a:gd name="T60" fmla="*/ 58622 w 509"/>
                <a:gd name="T61" fmla="*/ 13494 h 240"/>
                <a:gd name="T62" fmla="*/ 55453 w 509"/>
                <a:gd name="T63" fmla="*/ 7144 h 240"/>
                <a:gd name="T64" fmla="*/ 61791 w 509"/>
                <a:gd name="T65" fmla="*/ 3175 h 240"/>
                <a:gd name="T66" fmla="*/ 65752 w 509"/>
                <a:gd name="T67" fmla="*/ 0 h 240"/>
                <a:gd name="T68" fmla="*/ 72882 w 509"/>
                <a:gd name="T69" fmla="*/ 0 h 240"/>
                <a:gd name="T70" fmla="*/ 76050 w 509"/>
                <a:gd name="T71" fmla="*/ 3175 h 240"/>
                <a:gd name="T72" fmla="*/ 76050 w 509"/>
                <a:gd name="T73" fmla="*/ 10319 h 240"/>
                <a:gd name="T74" fmla="*/ 76050 w 509"/>
                <a:gd name="T75" fmla="*/ 20638 h 240"/>
                <a:gd name="T76" fmla="*/ 83180 w 509"/>
                <a:gd name="T77" fmla="*/ 30956 h 240"/>
                <a:gd name="T78" fmla="*/ 100608 w 509"/>
                <a:gd name="T79" fmla="*/ 37306 h 240"/>
                <a:gd name="T80" fmla="*/ 93478 w 509"/>
                <a:gd name="T81" fmla="*/ 37306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09"/>
                <a:gd name="T124" fmla="*/ 0 h 240"/>
                <a:gd name="T125" fmla="*/ 509 w 509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09" h="240">
                  <a:moveTo>
                    <a:pt x="457" y="188"/>
                  </a:moveTo>
                  <a:lnTo>
                    <a:pt x="457" y="205"/>
                  </a:lnTo>
                  <a:lnTo>
                    <a:pt x="457" y="223"/>
                  </a:lnTo>
                  <a:lnTo>
                    <a:pt x="475" y="223"/>
                  </a:lnTo>
                  <a:lnTo>
                    <a:pt x="457" y="223"/>
                  </a:lnTo>
                  <a:lnTo>
                    <a:pt x="457" y="240"/>
                  </a:lnTo>
                  <a:lnTo>
                    <a:pt x="423" y="240"/>
                  </a:lnTo>
                  <a:lnTo>
                    <a:pt x="386" y="223"/>
                  </a:lnTo>
                  <a:lnTo>
                    <a:pt x="369" y="223"/>
                  </a:lnTo>
                  <a:lnTo>
                    <a:pt x="333" y="223"/>
                  </a:lnTo>
                  <a:lnTo>
                    <a:pt x="315" y="223"/>
                  </a:lnTo>
                  <a:lnTo>
                    <a:pt x="281" y="223"/>
                  </a:lnTo>
                  <a:lnTo>
                    <a:pt x="281" y="240"/>
                  </a:lnTo>
                  <a:lnTo>
                    <a:pt x="246" y="240"/>
                  </a:lnTo>
                  <a:lnTo>
                    <a:pt x="210" y="240"/>
                  </a:lnTo>
                  <a:lnTo>
                    <a:pt x="175" y="240"/>
                  </a:lnTo>
                  <a:lnTo>
                    <a:pt x="158" y="240"/>
                  </a:lnTo>
                  <a:lnTo>
                    <a:pt x="158" y="223"/>
                  </a:lnTo>
                  <a:lnTo>
                    <a:pt x="141" y="223"/>
                  </a:lnTo>
                  <a:lnTo>
                    <a:pt x="123" y="223"/>
                  </a:lnTo>
                  <a:lnTo>
                    <a:pt x="106" y="223"/>
                  </a:lnTo>
                  <a:lnTo>
                    <a:pt x="70" y="223"/>
                  </a:lnTo>
                  <a:lnTo>
                    <a:pt x="52" y="205"/>
                  </a:lnTo>
                  <a:lnTo>
                    <a:pt x="35" y="188"/>
                  </a:lnTo>
                  <a:lnTo>
                    <a:pt x="70" y="171"/>
                  </a:lnTo>
                  <a:lnTo>
                    <a:pt x="106" y="171"/>
                  </a:lnTo>
                  <a:lnTo>
                    <a:pt x="141" y="171"/>
                  </a:lnTo>
                  <a:lnTo>
                    <a:pt x="158" y="171"/>
                  </a:lnTo>
                  <a:lnTo>
                    <a:pt x="158" y="154"/>
                  </a:lnTo>
                  <a:lnTo>
                    <a:pt x="123" y="154"/>
                  </a:lnTo>
                  <a:lnTo>
                    <a:pt x="106" y="154"/>
                  </a:lnTo>
                  <a:lnTo>
                    <a:pt x="70" y="154"/>
                  </a:lnTo>
                  <a:lnTo>
                    <a:pt x="35" y="154"/>
                  </a:lnTo>
                  <a:lnTo>
                    <a:pt x="18" y="136"/>
                  </a:lnTo>
                  <a:lnTo>
                    <a:pt x="35" y="119"/>
                  </a:lnTo>
                  <a:lnTo>
                    <a:pt x="52" y="119"/>
                  </a:lnTo>
                  <a:lnTo>
                    <a:pt x="35" y="119"/>
                  </a:lnTo>
                  <a:lnTo>
                    <a:pt x="18" y="119"/>
                  </a:lnTo>
                  <a:lnTo>
                    <a:pt x="0" y="119"/>
                  </a:lnTo>
                  <a:lnTo>
                    <a:pt x="0" y="102"/>
                  </a:lnTo>
                  <a:lnTo>
                    <a:pt x="18" y="67"/>
                  </a:lnTo>
                  <a:lnTo>
                    <a:pt x="70" y="33"/>
                  </a:lnTo>
                  <a:lnTo>
                    <a:pt x="123" y="15"/>
                  </a:lnTo>
                  <a:lnTo>
                    <a:pt x="123" y="33"/>
                  </a:lnTo>
                  <a:lnTo>
                    <a:pt x="141" y="50"/>
                  </a:lnTo>
                  <a:lnTo>
                    <a:pt x="141" y="67"/>
                  </a:lnTo>
                  <a:lnTo>
                    <a:pt x="141" y="50"/>
                  </a:lnTo>
                  <a:lnTo>
                    <a:pt x="158" y="33"/>
                  </a:lnTo>
                  <a:lnTo>
                    <a:pt x="192" y="50"/>
                  </a:lnTo>
                  <a:lnTo>
                    <a:pt x="210" y="50"/>
                  </a:lnTo>
                  <a:lnTo>
                    <a:pt x="210" y="67"/>
                  </a:lnTo>
                  <a:lnTo>
                    <a:pt x="229" y="67"/>
                  </a:lnTo>
                  <a:lnTo>
                    <a:pt x="229" y="50"/>
                  </a:lnTo>
                  <a:lnTo>
                    <a:pt x="246" y="50"/>
                  </a:lnTo>
                  <a:lnTo>
                    <a:pt x="263" y="50"/>
                  </a:lnTo>
                  <a:lnTo>
                    <a:pt x="281" y="50"/>
                  </a:lnTo>
                  <a:lnTo>
                    <a:pt x="281" y="67"/>
                  </a:lnTo>
                  <a:lnTo>
                    <a:pt x="281" y="85"/>
                  </a:lnTo>
                  <a:lnTo>
                    <a:pt x="281" y="102"/>
                  </a:lnTo>
                  <a:lnTo>
                    <a:pt x="298" y="102"/>
                  </a:lnTo>
                  <a:lnTo>
                    <a:pt x="315" y="102"/>
                  </a:lnTo>
                  <a:lnTo>
                    <a:pt x="298" y="67"/>
                  </a:lnTo>
                  <a:lnTo>
                    <a:pt x="298" y="50"/>
                  </a:lnTo>
                  <a:lnTo>
                    <a:pt x="281" y="33"/>
                  </a:lnTo>
                  <a:lnTo>
                    <a:pt x="298" y="15"/>
                  </a:lnTo>
                  <a:lnTo>
                    <a:pt x="315" y="15"/>
                  </a:lnTo>
                  <a:lnTo>
                    <a:pt x="333" y="15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0"/>
                  </a:lnTo>
                  <a:lnTo>
                    <a:pt x="386" y="15"/>
                  </a:lnTo>
                  <a:lnTo>
                    <a:pt x="386" y="33"/>
                  </a:lnTo>
                  <a:lnTo>
                    <a:pt x="386" y="50"/>
                  </a:lnTo>
                  <a:lnTo>
                    <a:pt x="386" y="67"/>
                  </a:lnTo>
                  <a:lnTo>
                    <a:pt x="386" y="102"/>
                  </a:lnTo>
                  <a:lnTo>
                    <a:pt x="405" y="119"/>
                  </a:lnTo>
                  <a:lnTo>
                    <a:pt x="423" y="154"/>
                  </a:lnTo>
                  <a:lnTo>
                    <a:pt x="457" y="171"/>
                  </a:lnTo>
                  <a:lnTo>
                    <a:pt x="509" y="188"/>
                  </a:lnTo>
                  <a:lnTo>
                    <a:pt x="492" y="188"/>
                  </a:lnTo>
                  <a:lnTo>
                    <a:pt x="475" y="188"/>
                  </a:lnTo>
                  <a:lnTo>
                    <a:pt x="457" y="18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37" name="Freeform 4">
              <a:extLst>
                <a:ext uri="{FF2B5EF4-FFF2-40B4-BE49-F238E27FC236}">
                  <a16:creationId xmlns:a16="http://schemas.microsoft.com/office/drawing/2014/main" id="{233E7352-A91E-4243-AD86-27ADE91DE10D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2443163"/>
              <a:ext cx="239713" cy="150813"/>
            </a:xfrm>
            <a:custGeom>
              <a:avLst/>
              <a:gdLst>
                <a:gd name="T0" fmla="*/ 10353 w 301"/>
                <a:gd name="T1" fmla="*/ 34925 h 190"/>
                <a:gd name="T2" fmla="*/ 10353 w 301"/>
                <a:gd name="T3" fmla="*/ 30956 h 190"/>
                <a:gd name="T4" fmla="*/ 7167 w 301"/>
                <a:gd name="T5" fmla="*/ 30956 h 190"/>
                <a:gd name="T6" fmla="*/ 3982 w 301"/>
                <a:gd name="T7" fmla="*/ 30956 h 190"/>
                <a:gd name="T8" fmla="*/ 0 w 301"/>
                <a:gd name="T9" fmla="*/ 27781 h 190"/>
                <a:gd name="T10" fmla="*/ 3982 w 301"/>
                <a:gd name="T11" fmla="*/ 23813 h 190"/>
                <a:gd name="T12" fmla="*/ 10353 w 301"/>
                <a:gd name="T13" fmla="*/ 14288 h 190"/>
                <a:gd name="T14" fmla="*/ 10353 w 301"/>
                <a:gd name="T15" fmla="*/ 10319 h 190"/>
                <a:gd name="T16" fmla="*/ 10353 w 301"/>
                <a:gd name="T17" fmla="*/ 7938 h 190"/>
                <a:gd name="T18" fmla="*/ 10353 w 301"/>
                <a:gd name="T19" fmla="*/ 3969 h 190"/>
                <a:gd name="T20" fmla="*/ 7167 w 301"/>
                <a:gd name="T21" fmla="*/ 3969 h 190"/>
                <a:gd name="T22" fmla="*/ 10353 w 301"/>
                <a:gd name="T23" fmla="*/ 0 h 190"/>
                <a:gd name="T24" fmla="*/ 14335 w 301"/>
                <a:gd name="T25" fmla="*/ 0 h 190"/>
                <a:gd name="T26" fmla="*/ 21502 w 301"/>
                <a:gd name="T27" fmla="*/ 3969 h 190"/>
                <a:gd name="T28" fmla="*/ 24688 w 301"/>
                <a:gd name="T29" fmla="*/ 0 h 190"/>
                <a:gd name="T30" fmla="*/ 27874 w 301"/>
                <a:gd name="T31" fmla="*/ 0 h 190"/>
                <a:gd name="T32" fmla="*/ 31856 w 301"/>
                <a:gd name="T33" fmla="*/ 3969 h 190"/>
                <a:gd name="T34" fmla="*/ 35837 w 301"/>
                <a:gd name="T35" fmla="*/ 3969 h 190"/>
                <a:gd name="T36" fmla="*/ 39023 w 301"/>
                <a:gd name="T37" fmla="*/ 7938 h 190"/>
                <a:gd name="T38" fmla="*/ 43005 w 301"/>
                <a:gd name="T39" fmla="*/ 3969 h 190"/>
                <a:gd name="T40" fmla="*/ 46191 w 301"/>
                <a:gd name="T41" fmla="*/ 3969 h 190"/>
                <a:gd name="T42" fmla="*/ 49376 w 301"/>
                <a:gd name="T43" fmla="*/ 7938 h 190"/>
                <a:gd name="T44" fmla="*/ 56544 w 301"/>
                <a:gd name="T45" fmla="*/ 10319 h 190"/>
                <a:gd name="T46" fmla="*/ 60526 w 301"/>
                <a:gd name="T47" fmla="*/ 10319 h 190"/>
                <a:gd name="T48" fmla="*/ 56544 w 301"/>
                <a:gd name="T49" fmla="*/ 14288 h 190"/>
                <a:gd name="T50" fmla="*/ 49376 w 301"/>
                <a:gd name="T51" fmla="*/ 17463 h 190"/>
                <a:gd name="T52" fmla="*/ 46191 w 301"/>
                <a:gd name="T53" fmla="*/ 17463 h 190"/>
                <a:gd name="T54" fmla="*/ 39023 w 301"/>
                <a:gd name="T55" fmla="*/ 20638 h 190"/>
                <a:gd name="T56" fmla="*/ 35837 w 301"/>
                <a:gd name="T57" fmla="*/ 23813 h 190"/>
                <a:gd name="T58" fmla="*/ 31856 w 301"/>
                <a:gd name="T59" fmla="*/ 30956 h 190"/>
                <a:gd name="T60" fmla="*/ 27874 w 301"/>
                <a:gd name="T61" fmla="*/ 34925 h 190"/>
                <a:gd name="T62" fmla="*/ 21502 w 301"/>
                <a:gd name="T63" fmla="*/ 34925 h 190"/>
                <a:gd name="T64" fmla="*/ 14335 w 301"/>
                <a:gd name="T65" fmla="*/ 38100 h 190"/>
                <a:gd name="T66" fmla="*/ 14335 w 301"/>
                <a:gd name="T67" fmla="*/ 34925 h 190"/>
                <a:gd name="T68" fmla="*/ 10353 w 301"/>
                <a:gd name="T69" fmla="*/ 34925 h 1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1"/>
                <a:gd name="T106" fmla="*/ 0 h 190"/>
                <a:gd name="T107" fmla="*/ 301 w 301"/>
                <a:gd name="T108" fmla="*/ 190 h 1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1" h="190">
                  <a:moveTo>
                    <a:pt x="51" y="173"/>
                  </a:moveTo>
                  <a:lnTo>
                    <a:pt x="51" y="156"/>
                  </a:lnTo>
                  <a:lnTo>
                    <a:pt x="34" y="156"/>
                  </a:lnTo>
                  <a:lnTo>
                    <a:pt x="17" y="156"/>
                  </a:lnTo>
                  <a:lnTo>
                    <a:pt x="0" y="139"/>
                  </a:lnTo>
                  <a:lnTo>
                    <a:pt x="17" y="121"/>
                  </a:lnTo>
                  <a:lnTo>
                    <a:pt x="51" y="69"/>
                  </a:lnTo>
                  <a:lnTo>
                    <a:pt x="51" y="54"/>
                  </a:lnTo>
                  <a:lnTo>
                    <a:pt x="51" y="37"/>
                  </a:lnTo>
                  <a:lnTo>
                    <a:pt x="51" y="20"/>
                  </a:lnTo>
                  <a:lnTo>
                    <a:pt x="34" y="2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5" y="20"/>
                  </a:lnTo>
                  <a:lnTo>
                    <a:pt x="122" y="0"/>
                  </a:lnTo>
                  <a:lnTo>
                    <a:pt x="140" y="0"/>
                  </a:lnTo>
                  <a:lnTo>
                    <a:pt x="159" y="20"/>
                  </a:lnTo>
                  <a:lnTo>
                    <a:pt x="178" y="20"/>
                  </a:lnTo>
                  <a:lnTo>
                    <a:pt x="195" y="37"/>
                  </a:lnTo>
                  <a:lnTo>
                    <a:pt x="213" y="20"/>
                  </a:lnTo>
                  <a:lnTo>
                    <a:pt x="230" y="20"/>
                  </a:lnTo>
                  <a:lnTo>
                    <a:pt x="247" y="37"/>
                  </a:lnTo>
                  <a:lnTo>
                    <a:pt x="284" y="54"/>
                  </a:lnTo>
                  <a:lnTo>
                    <a:pt x="301" y="54"/>
                  </a:lnTo>
                  <a:lnTo>
                    <a:pt x="284" y="69"/>
                  </a:lnTo>
                  <a:lnTo>
                    <a:pt x="247" y="87"/>
                  </a:lnTo>
                  <a:lnTo>
                    <a:pt x="230" y="87"/>
                  </a:lnTo>
                  <a:lnTo>
                    <a:pt x="195" y="104"/>
                  </a:lnTo>
                  <a:lnTo>
                    <a:pt x="178" y="121"/>
                  </a:lnTo>
                  <a:lnTo>
                    <a:pt x="159" y="156"/>
                  </a:lnTo>
                  <a:lnTo>
                    <a:pt x="140" y="173"/>
                  </a:lnTo>
                  <a:lnTo>
                    <a:pt x="105" y="173"/>
                  </a:lnTo>
                  <a:lnTo>
                    <a:pt x="71" y="190"/>
                  </a:lnTo>
                  <a:lnTo>
                    <a:pt x="71" y="173"/>
                  </a:lnTo>
                  <a:lnTo>
                    <a:pt x="51" y="1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38" name="Freeform 5">
              <a:extLst>
                <a:ext uri="{FF2B5EF4-FFF2-40B4-BE49-F238E27FC236}">
                  <a16:creationId xmlns:a16="http://schemas.microsoft.com/office/drawing/2014/main" id="{65BEF965-C318-4519-9C11-424297773BF9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55825" y="2347913"/>
              <a:ext cx="260350" cy="109538"/>
            </a:xfrm>
            <a:custGeom>
              <a:avLst/>
              <a:gdLst>
                <a:gd name="T0" fmla="*/ 20637 w 328"/>
                <a:gd name="T1" fmla="*/ 23813 h 138"/>
                <a:gd name="T2" fmla="*/ 20637 w 328"/>
                <a:gd name="T3" fmla="*/ 23813 h 138"/>
                <a:gd name="T4" fmla="*/ 23812 w 328"/>
                <a:gd name="T5" fmla="*/ 19844 h 138"/>
                <a:gd name="T6" fmla="*/ 20637 w 328"/>
                <a:gd name="T7" fmla="*/ 16669 h 138"/>
                <a:gd name="T8" fmla="*/ 16669 w 328"/>
                <a:gd name="T9" fmla="*/ 19844 h 138"/>
                <a:gd name="T10" fmla="*/ 10319 w 328"/>
                <a:gd name="T11" fmla="*/ 19844 h 138"/>
                <a:gd name="T12" fmla="*/ 3969 w 328"/>
                <a:gd name="T13" fmla="*/ 19844 h 138"/>
                <a:gd name="T14" fmla="*/ 0 w 328"/>
                <a:gd name="T15" fmla="*/ 16669 h 138"/>
                <a:gd name="T16" fmla="*/ 3969 w 328"/>
                <a:gd name="T17" fmla="*/ 13494 h 138"/>
                <a:gd name="T18" fmla="*/ 10319 w 328"/>
                <a:gd name="T19" fmla="*/ 13494 h 138"/>
                <a:gd name="T20" fmla="*/ 10319 w 328"/>
                <a:gd name="T21" fmla="*/ 13494 h 138"/>
                <a:gd name="T22" fmla="*/ 3969 w 328"/>
                <a:gd name="T23" fmla="*/ 13494 h 138"/>
                <a:gd name="T24" fmla="*/ 7144 w 328"/>
                <a:gd name="T25" fmla="*/ 9525 h 138"/>
                <a:gd name="T26" fmla="*/ 14288 w 328"/>
                <a:gd name="T27" fmla="*/ 9525 h 138"/>
                <a:gd name="T28" fmla="*/ 14288 w 328"/>
                <a:gd name="T29" fmla="*/ 9525 h 138"/>
                <a:gd name="T30" fmla="*/ 7144 w 328"/>
                <a:gd name="T31" fmla="*/ 9525 h 138"/>
                <a:gd name="T32" fmla="*/ 10319 w 328"/>
                <a:gd name="T33" fmla="*/ 7144 h 138"/>
                <a:gd name="T34" fmla="*/ 10319 w 328"/>
                <a:gd name="T35" fmla="*/ 3175 h 138"/>
                <a:gd name="T36" fmla="*/ 16669 w 328"/>
                <a:gd name="T37" fmla="*/ 3175 h 138"/>
                <a:gd name="T38" fmla="*/ 23812 w 328"/>
                <a:gd name="T39" fmla="*/ 7144 h 138"/>
                <a:gd name="T40" fmla="*/ 34131 w 328"/>
                <a:gd name="T41" fmla="*/ 13494 h 138"/>
                <a:gd name="T42" fmla="*/ 44450 w 328"/>
                <a:gd name="T43" fmla="*/ 13494 h 138"/>
                <a:gd name="T44" fmla="*/ 44450 w 328"/>
                <a:gd name="T45" fmla="*/ 13494 h 138"/>
                <a:gd name="T46" fmla="*/ 44450 w 328"/>
                <a:gd name="T47" fmla="*/ 9525 h 138"/>
                <a:gd name="T48" fmla="*/ 40481 w 328"/>
                <a:gd name="T49" fmla="*/ 7144 h 138"/>
                <a:gd name="T50" fmla="*/ 37306 w 328"/>
                <a:gd name="T51" fmla="*/ 3175 h 138"/>
                <a:gd name="T52" fmla="*/ 44450 w 328"/>
                <a:gd name="T53" fmla="*/ 0 h 138"/>
                <a:gd name="T54" fmla="*/ 47625 w 328"/>
                <a:gd name="T55" fmla="*/ 3175 h 138"/>
                <a:gd name="T56" fmla="*/ 51594 w 328"/>
                <a:gd name="T57" fmla="*/ 9525 h 138"/>
                <a:gd name="T58" fmla="*/ 61913 w 328"/>
                <a:gd name="T59" fmla="*/ 7144 h 138"/>
                <a:gd name="T60" fmla="*/ 65088 w 328"/>
                <a:gd name="T61" fmla="*/ 9525 h 138"/>
                <a:gd name="T62" fmla="*/ 61913 w 328"/>
                <a:gd name="T63" fmla="*/ 19844 h 138"/>
                <a:gd name="T64" fmla="*/ 47625 w 328"/>
                <a:gd name="T65" fmla="*/ 19844 h 138"/>
                <a:gd name="T66" fmla="*/ 37306 w 328"/>
                <a:gd name="T67" fmla="*/ 23813 h 138"/>
                <a:gd name="T68" fmla="*/ 30956 w 328"/>
                <a:gd name="T69" fmla="*/ 23813 h 138"/>
                <a:gd name="T70" fmla="*/ 23812 w 328"/>
                <a:gd name="T71" fmla="*/ 27781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8"/>
                <a:gd name="T109" fmla="*/ 0 h 138"/>
                <a:gd name="T110" fmla="*/ 328 w 328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8" h="138">
                  <a:moveTo>
                    <a:pt x="121" y="138"/>
                  </a:moveTo>
                  <a:lnTo>
                    <a:pt x="104" y="120"/>
                  </a:lnTo>
                  <a:lnTo>
                    <a:pt x="86" y="120"/>
                  </a:lnTo>
                  <a:lnTo>
                    <a:pt x="104" y="120"/>
                  </a:lnTo>
                  <a:lnTo>
                    <a:pt x="121" y="120"/>
                  </a:lnTo>
                  <a:lnTo>
                    <a:pt x="121" y="103"/>
                  </a:lnTo>
                  <a:lnTo>
                    <a:pt x="104" y="103"/>
                  </a:lnTo>
                  <a:lnTo>
                    <a:pt x="104" y="86"/>
                  </a:lnTo>
                  <a:lnTo>
                    <a:pt x="86" y="86"/>
                  </a:lnTo>
                  <a:lnTo>
                    <a:pt x="86" y="103"/>
                  </a:lnTo>
                  <a:lnTo>
                    <a:pt x="69" y="103"/>
                  </a:lnTo>
                  <a:lnTo>
                    <a:pt x="52" y="103"/>
                  </a:lnTo>
                  <a:lnTo>
                    <a:pt x="34" y="103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52" y="69"/>
                  </a:lnTo>
                  <a:lnTo>
                    <a:pt x="69" y="69"/>
                  </a:lnTo>
                  <a:lnTo>
                    <a:pt x="52" y="69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17" y="51"/>
                  </a:lnTo>
                  <a:lnTo>
                    <a:pt x="34" y="51"/>
                  </a:lnTo>
                  <a:lnTo>
                    <a:pt x="52" y="51"/>
                  </a:lnTo>
                  <a:lnTo>
                    <a:pt x="69" y="51"/>
                  </a:lnTo>
                  <a:lnTo>
                    <a:pt x="86" y="51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34" y="51"/>
                  </a:lnTo>
                  <a:lnTo>
                    <a:pt x="34" y="34"/>
                  </a:lnTo>
                  <a:lnTo>
                    <a:pt x="52" y="34"/>
                  </a:lnTo>
                  <a:lnTo>
                    <a:pt x="69" y="34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121" y="34"/>
                  </a:lnTo>
                  <a:lnTo>
                    <a:pt x="138" y="51"/>
                  </a:lnTo>
                  <a:lnTo>
                    <a:pt x="173" y="69"/>
                  </a:lnTo>
                  <a:lnTo>
                    <a:pt x="207" y="69"/>
                  </a:lnTo>
                  <a:lnTo>
                    <a:pt x="225" y="69"/>
                  </a:lnTo>
                  <a:lnTo>
                    <a:pt x="242" y="69"/>
                  </a:lnTo>
                  <a:lnTo>
                    <a:pt x="225" y="69"/>
                  </a:lnTo>
                  <a:lnTo>
                    <a:pt x="207" y="69"/>
                  </a:lnTo>
                  <a:lnTo>
                    <a:pt x="225" y="51"/>
                  </a:lnTo>
                  <a:lnTo>
                    <a:pt x="225" y="34"/>
                  </a:lnTo>
                  <a:lnTo>
                    <a:pt x="207" y="34"/>
                  </a:lnTo>
                  <a:lnTo>
                    <a:pt x="190" y="34"/>
                  </a:lnTo>
                  <a:lnTo>
                    <a:pt x="190" y="17"/>
                  </a:lnTo>
                  <a:lnTo>
                    <a:pt x="207" y="0"/>
                  </a:lnTo>
                  <a:lnTo>
                    <a:pt x="225" y="0"/>
                  </a:lnTo>
                  <a:lnTo>
                    <a:pt x="242" y="0"/>
                  </a:lnTo>
                  <a:lnTo>
                    <a:pt x="242" y="17"/>
                  </a:lnTo>
                  <a:lnTo>
                    <a:pt x="242" y="34"/>
                  </a:lnTo>
                  <a:lnTo>
                    <a:pt x="259" y="51"/>
                  </a:lnTo>
                  <a:lnTo>
                    <a:pt x="294" y="51"/>
                  </a:lnTo>
                  <a:lnTo>
                    <a:pt x="311" y="34"/>
                  </a:lnTo>
                  <a:lnTo>
                    <a:pt x="311" y="51"/>
                  </a:lnTo>
                  <a:lnTo>
                    <a:pt x="328" y="51"/>
                  </a:lnTo>
                  <a:lnTo>
                    <a:pt x="328" y="69"/>
                  </a:lnTo>
                  <a:lnTo>
                    <a:pt x="311" y="103"/>
                  </a:lnTo>
                  <a:lnTo>
                    <a:pt x="294" y="103"/>
                  </a:lnTo>
                  <a:lnTo>
                    <a:pt x="242" y="103"/>
                  </a:lnTo>
                  <a:lnTo>
                    <a:pt x="225" y="120"/>
                  </a:lnTo>
                  <a:lnTo>
                    <a:pt x="190" y="120"/>
                  </a:lnTo>
                  <a:lnTo>
                    <a:pt x="173" y="120"/>
                  </a:lnTo>
                  <a:lnTo>
                    <a:pt x="155" y="120"/>
                  </a:lnTo>
                  <a:lnTo>
                    <a:pt x="138" y="120"/>
                  </a:lnTo>
                  <a:lnTo>
                    <a:pt x="121" y="13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39" name="Freeform 6">
              <a:extLst>
                <a:ext uri="{FF2B5EF4-FFF2-40B4-BE49-F238E27FC236}">
                  <a16:creationId xmlns:a16="http://schemas.microsoft.com/office/drawing/2014/main" id="{83AC18B5-AB8E-47A9-B2ED-0814BED8F73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041525" y="2319338"/>
              <a:ext cx="155575" cy="82550"/>
            </a:xfrm>
            <a:custGeom>
              <a:avLst/>
              <a:gdLst>
                <a:gd name="T0" fmla="*/ 38894 w 196"/>
                <a:gd name="T1" fmla="*/ 0 h 104"/>
                <a:gd name="T2" fmla="*/ 38894 w 196"/>
                <a:gd name="T3" fmla="*/ 3969 h 104"/>
                <a:gd name="T4" fmla="*/ 35719 w 196"/>
                <a:gd name="T5" fmla="*/ 3969 h 104"/>
                <a:gd name="T6" fmla="*/ 35719 w 196"/>
                <a:gd name="T7" fmla="*/ 7144 h 104"/>
                <a:gd name="T8" fmla="*/ 38894 w 196"/>
                <a:gd name="T9" fmla="*/ 7144 h 104"/>
                <a:gd name="T10" fmla="*/ 35719 w 196"/>
                <a:gd name="T11" fmla="*/ 7144 h 104"/>
                <a:gd name="T12" fmla="*/ 28575 w 196"/>
                <a:gd name="T13" fmla="*/ 14288 h 104"/>
                <a:gd name="T14" fmla="*/ 24606 w 196"/>
                <a:gd name="T15" fmla="*/ 10319 h 104"/>
                <a:gd name="T16" fmla="*/ 24606 w 196"/>
                <a:gd name="T17" fmla="*/ 7144 h 104"/>
                <a:gd name="T18" fmla="*/ 20637 w 196"/>
                <a:gd name="T19" fmla="*/ 10319 h 104"/>
                <a:gd name="T20" fmla="*/ 20637 w 196"/>
                <a:gd name="T21" fmla="*/ 14288 h 104"/>
                <a:gd name="T22" fmla="*/ 18256 w 196"/>
                <a:gd name="T23" fmla="*/ 14288 h 104"/>
                <a:gd name="T24" fmla="*/ 18256 w 196"/>
                <a:gd name="T25" fmla="*/ 17463 h 104"/>
                <a:gd name="T26" fmla="*/ 18256 w 196"/>
                <a:gd name="T27" fmla="*/ 20638 h 104"/>
                <a:gd name="T28" fmla="*/ 14288 w 196"/>
                <a:gd name="T29" fmla="*/ 20638 h 104"/>
                <a:gd name="T30" fmla="*/ 10319 w 196"/>
                <a:gd name="T31" fmla="*/ 20638 h 104"/>
                <a:gd name="T32" fmla="*/ 10319 w 196"/>
                <a:gd name="T33" fmla="*/ 17463 h 104"/>
                <a:gd name="T34" fmla="*/ 7144 w 196"/>
                <a:gd name="T35" fmla="*/ 17463 h 104"/>
                <a:gd name="T36" fmla="*/ 3969 w 196"/>
                <a:gd name="T37" fmla="*/ 17463 h 104"/>
                <a:gd name="T38" fmla="*/ 0 w 196"/>
                <a:gd name="T39" fmla="*/ 17463 h 104"/>
                <a:gd name="T40" fmla="*/ 0 w 196"/>
                <a:gd name="T41" fmla="*/ 14288 h 104"/>
                <a:gd name="T42" fmla="*/ 3969 w 196"/>
                <a:gd name="T43" fmla="*/ 10319 h 104"/>
                <a:gd name="T44" fmla="*/ 7144 w 196"/>
                <a:gd name="T45" fmla="*/ 10319 h 104"/>
                <a:gd name="T46" fmla="*/ 10319 w 196"/>
                <a:gd name="T47" fmla="*/ 7144 h 104"/>
                <a:gd name="T48" fmla="*/ 14288 w 196"/>
                <a:gd name="T49" fmla="*/ 7144 h 104"/>
                <a:gd name="T50" fmla="*/ 18256 w 196"/>
                <a:gd name="T51" fmla="*/ 7144 h 104"/>
                <a:gd name="T52" fmla="*/ 18256 w 196"/>
                <a:gd name="T53" fmla="*/ 3969 h 104"/>
                <a:gd name="T54" fmla="*/ 20637 w 196"/>
                <a:gd name="T55" fmla="*/ 0 h 104"/>
                <a:gd name="T56" fmla="*/ 24606 w 196"/>
                <a:gd name="T57" fmla="*/ 0 h 104"/>
                <a:gd name="T58" fmla="*/ 28575 w 196"/>
                <a:gd name="T59" fmla="*/ 0 h 104"/>
                <a:gd name="T60" fmla="*/ 35719 w 196"/>
                <a:gd name="T61" fmla="*/ 0 h 104"/>
                <a:gd name="T62" fmla="*/ 38894 w 196"/>
                <a:gd name="T63" fmla="*/ 0 h 1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04"/>
                <a:gd name="T98" fmla="*/ 196 w 196"/>
                <a:gd name="T99" fmla="*/ 104 h 1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04">
                  <a:moveTo>
                    <a:pt x="196" y="0"/>
                  </a:moveTo>
                  <a:lnTo>
                    <a:pt x="196" y="17"/>
                  </a:lnTo>
                  <a:lnTo>
                    <a:pt x="177" y="17"/>
                  </a:lnTo>
                  <a:lnTo>
                    <a:pt x="177" y="35"/>
                  </a:lnTo>
                  <a:lnTo>
                    <a:pt x="196" y="35"/>
                  </a:lnTo>
                  <a:lnTo>
                    <a:pt x="177" y="35"/>
                  </a:lnTo>
                  <a:lnTo>
                    <a:pt x="142" y="69"/>
                  </a:lnTo>
                  <a:lnTo>
                    <a:pt x="125" y="52"/>
                  </a:lnTo>
                  <a:lnTo>
                    <a:pt x="125" y="35"/>
                  </a:lnTo>
                  <a:lnTo>
                    <a:pt x="107" y="52"/>
                  </a:lnTo>
                  <a:lnTo>
                    <a:pt x="107" y="69"/>
                  </a:lnTo>
                  <a:lnTo>
                    <a:pt x="90" y="69"/>
                  </a:lnTo>
                  <a:lnTo>
                    <a:pt x="90" y="86"/>
                  </a:lnTo>
                  <a:lnTo>
                    <a:pt x="90" y="104"/>
                  </a:lnTo>
                  <a:lnTo>
                    <a:pt x="69" y="104"/>
                  </a:lnTo>
                  <a:lnTo>
                    <a:pt x="52" y="104"/>
                  </a:lnTo>
                  <a:lnTo>
                    <a:pt x="52" y="86"/>
                  </a:lnTo>
                  <a:lnTo>
                    <a:pt x="34" y="86"/>
                  </a:lnTo>
                  <a:lnTo>
                    <a:pt x="17" y="86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52"/>
                  </a:lnTo>
                  <a:lnTo>
                    <a:pt x="34" y="52"/>
                  </a:lnTo>
                  <a:lnTo>
                    <a:pt x="52" y="35"/>
                  </a:lnTo>
                  <a:lnTo>
                    <a:pt x="69" y="35"/>
                  </a:lnTo>
                  <a:lnTo>
                    <a:pt x="90" y="35"/>
                  </a:lnTo>
                  <a:lnTo>
                    <a:pt x="90" y="17"/>
                  </a:lnTo>
                  <a:lnTo>
                    <a:pt x="107" y="0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77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0" name="Freeform 7">
              <a:extLst>
                <a:ext uri="{FF2B5EF4-FFF2-40B4-BE49-F238E27FC236}">
                  <a16:creationId xmlns:a16="http://schemas.microsoft.com/office/drawing/2014/main" id="{3CBC91BC-E3E0-4D3D-98E3-4F7572B81C5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249488" y="2265363"/>
              <a:ext cx="84138" cy="28575"/>
            </a:xfrm>
            <a:custGeom>
              <a:avLst/>
              <a:gdLst>
                <a:gd name="T0" fmla="*/ 7144 w 106"/>
                <a:gd name="T1" fmla="*/ 7144 h 36"/>
                <a:gd name="T2" fmla="*/ 3969 w 106"/>
                <a:gd name="T3" fmla="*/ 3969 h 36"/>
                <a:gd name="T4" fmla="*/ 0 w 106"/>
                <a:gd name="T5" fmla="*/ 3969 h 36"/>
                <a:gd name="T6" fmla="*/ 0 w 106"/>
                <a:gd name="T7" fmla="*/ 7144 h 36"/>
                <a:gd name="T8" fmla="*/ 0 w 106"/>
                <a:gd name="T9" fmla="*/ 0 h 36"/>
                <a:gd name="T10" fmla="*/ 7144 w 106"/>
                <a:gd name="T11" fmla="*/ 0 h 36"/>
                <a:gd name="T12" fmla="*/ 10319 w 106"/>
                <a:gd name="T13" fmla="*/ 0 h 36"/>
                <a:gd name="T14" fmla="*/ 14288 w 106"/>
                <a:gd name="T15" fmla="*/ 0 h 36"/>
                <a:gd name="T16" fmla="*/ 17463 w 106"/>
                <a:gd name="T17" fmla="*/ 0 h 36"/>
                <a:gd name="T18" fmla="*/ 21431 w 106"/>
                <a:gd name="T19" fmla="*/ 3969 h 36"/>
                <a:gd name="T20" fmla="*/ 17463 w 106"/>
                <a:gd name="T21" fmla="*/ 3969 h 36"/>
                <a:gd name="T22" fmla="*/ 14288 w 106"/>
                <a:gd name="T23" fmla="*/ 7144 h 36"/>
                <a:gd name="T24" fmla="*/ 10319 w 106"/>
                <a:gd name="T25" fmla="*/ 7144 h 36"/>
                <a:gd name="T26" fmla="*/ 7144 w 106"/>
                <a:gd name="T27" fmla="*/ 7144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36"/>
                <a:gd name="T44" fmla="*/ 106 w 10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36">
                  <a:moveTo>
                    <a:pt x="36" y="36"/>
                  </a:moveTo>
                  <a:lnTo>
                    <a:pt x="17" y="17"/>
                  </a:lnTo>
                  <a:lnTo>
                    <a:pt x="0" y="1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71" y="36"/>
                  </a:lnTo>
                  <a:lnTo>
                    <a:pt x="54" y="36"/>
                  </a:lnTo>
                  <a:lnTo>
                    <a:pt x="36" y="3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1" name="Freeform 8">
              <a:extLst>
                <a:ext uri="{FF2B5EF4-FFF2-40B4-BE49-F238E27FC236}">
                  <a16:creationId xmlns:a16="http://schemas.microsoft.com/office/drawing/2014/main" id="{2CA7787C-4B2B-4A6D-B444-5DF849A2FC1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49488" y="2293938"/>
              <a:ext cx="71438" cy="41275"/>
            </a:xfrm>
            <a:custGeom>
              <a:avLst/>
              <a:gdLst>
                <a:gd name="T0" fmla="*/ 14612 w 88"/>
                <a:gd name="T1" fmla="*/ 3969 h 52"/>
                <a:gd name="T2" fmla="*/ 11365 w 88"/>
                <a:gd name="T3" fmla="*/ 7144 h 52"/>
                <a:gd name="T4" fmla="*/ 4059 w 88"/>
                <a:gd name="T5" fmla="*/ 10319 h 52"/>
                <a:gd name="T6" fmla="*/ 0 w 88"/>
                <a:gd name="T7" fmla="*/ 7144 h 52"/>
                <a:gd name="T8" fmla="*/ 0 w 88"/>
                <a:gd name="T9" fmla="*/ 3969 h 52"/>
                <a:gd name="T10" fmla="*/ 0 w 88"/>
                <a:gd name="T11" fmla="*/ 0 h 52"/>
                <a:gd name="T12" fmla="*/ 11365 w 88"/>
                <a:gd name="T13" fmla="*/ 0 h 52"/>
                <a:gd name="T14" fmla="*/ 14612 w 88"/>
                <a:gd name="T15" fmla="*/ 0 h 52"/>
                <a:gd name="T16" fmla="*/ 18671 w 88"/>
                <a:gd name="T17" fmla="*/ 0 h 52"/>
                <a:gd name="T18" fmla="*/ 18671 w 88"/>
                <a:gd name="T19" fmla="*/ 3969 h 52"/>
                <a:gd name="T20" fmla="*/ 14612 w 88"/>
                <a:gd name="T21" fmla="*/ 3969 h 52"/>
                <a:gd name="T22" fmla="*/ 11365 w 88"/>
                <a:gd name="T23" fmla="*/ 3969 h 52"/>
                <a:gd name="T24" fmla="*/ 14612 w 88"/>
                <a:gd name="T25" fmla="*/ 3969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8"/>
                <a:gd name="T40" fmla="*/ 0 h 52"/>
                <a:gd name="T41" fmla="*/ 88 w 88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8" h="52">
                  <a:moveTo>
                    <a:pt x="71" y="18"/>
                  </a:moveTo>
                  <a:lnTo>
                    <a:pt x="54" y="35"/>
                  </a:lnTo>
                  <a:lnTo>
                    <a:pt x="17" y="52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88" y="18"/>
                  </a:lnTo>
                  <a:lnTo>
                    <a:pt x="71" y="18"/>
                  </a:lnTo>
                  <a:lnTo>
                    <a:pt x="54" y="18"/>
                  </a:lnTo>
                  <a:lnTo>
                    <a:pt x="71" y="1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2" name="Freeform 9">
              <a:extLst>
                <a:ext uri="{FF2B5EF4-FFF2-40B4-BE49-F238E27FC236}">
                  <a16:creationId xmlns:a16="http://schemas.microsoft.com/office/drawing/2014/main" id="{A2A85535-E953-4A22-8012-D37C698AB5A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211388" y="2347913"/>
              <a:ext cx="26988" cy="0"/>
            </a:xfrm>
            <a:custGeom>
              <a:avLst/>
              <a:gdLst>
                <a:gd name="T0" fmla="*/ 3084 w 35"/>
                <a:gd name="T1" fmla="*/ 0 w 35"/>
                <a:gd name="T2" fmla="*/ 3084 w 35"/>
                <a:gd name="T3" fmla="*/ 6169 w 35"/>
                <a:gd name="T4" fmla="*/ 3084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3" name="Freeform 10">
              <a:extLst>
                <a:ext uri="{FF2B5EF4-FFF2-40B4-BE49-F238E27FC236}">
                  <a16:creationId xmlns:a16="http://schemas.microsoft.com/office/drawing/2014/main" id="{35A53994-E3B4-4C9E-9D0E-460AE0EDC30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433638" y="2347913"/>
              <a:ext cx="153988" cy="84138"/>
            </a:xfrm>
            <a:custGeom>
              <a:avLst/>
              <a:gdLst>
                <a:gd name="T0" fmla="*/ 3969 w 194"/>
                <a:gd name="T1" fmla="*/ 7212 h 105"/>
                <a:gd name="T2" fmla="*/ 3969 w 194"/>
                <a:gd name="T3" fmla="*/ 4007 h 105"/>
                <a:gd name="T4" fmla="*/ 0 w 194"/>
                <a:gd name="T5" fmla="*/ 0 h 105"/>
                <a:gd name="T6" fmla="*/ 3969 w 194"/>
                <a:gd name="T7" fmla="*/ 0 h 105"/>
                <a:gd name="T8" fmla="*/ 10319 w 194"/>
                <a:gd name="T9" fmla="*/ 4007 h 105"/>
                <a:gd name="T10" fmla="*/ 14288 w 194"/>
                <a:gd name="T11" fmla="*/ 11218 h 105"/>
                <a:gd name="T12" fmla="*/ 20638 w 194"/>
                <a:gd name="T13" fmla="*/ 11218 h 105"/>
                <a:gd name="T14" fmla="*/ 18256 w 194"/>
                <a:gd name="T15" fmla="*/ 11218 h 105"/>
                <a:gd name="T16" fmla="*/ 14288 w 194"/>
                <a:gd name="T17" fmla="*/ 7212 h 105"/>
                <a:gd name="T18" fmla="*/ 14288 w 194"/>
                <a:gd name="T19" fmla="*/ 4007 h 105"/>
                <a:gd name="T20" fmla="*/ 18256 w 194"/>
                <a:gd name="T21" fmla="*/ 7212 h 105"/>
                <a:gd name="T22" fmla="*/ 24606 w 194"/>
                <a:gd name="T23" fmla="*/ 7212 h 105"/>
                <a:gd name="T24" fmla="*/ 24606 w 194"/>
                <a:gd name="T25" fmla="*/ 11218 h 105"/>
                <a:gd name="T26" fmla="*/ 24606 w 194"/>
                <a:gd name="T27" fmla="*/ 7212 h 105"/>
                <a:gd name="T28" fmla="*/ 24606 w 194"/>
                <a:gd name="T29" fmla="*/ 4007 h 105"/>
                <a:gd name="T30" fmla="*/ 20638 w 194"/>
                <a:gd name="T31" fmla="*/ 4007 h 105"/>
                <a:gd name="T32" fmla="*/ 20638 w 194"/>
                <a:gd name="T33" fmla="*/ 0 h 105"/>
                <a:gd name="T34" fmla="*/ 24606 w 194"/>
                <a:gd name="T35" fmla="*/ 0 h 105"/>
                <a:gd name="T36" fmla="*/ 28575 w 194"/>
                <a:gd name="T37" fmla="*/ 4007 h 105"/>
                <a:gd name="T38" fmla="*/ 31750 w 194"/>
                <a:gd name="T39" fmla="*/ 4007 h 105"/>
                <a:gd name="T40" fmla="*/ 35719 w 194"/>
                <a:gd name="T41" fmla="*/ 4007 h 105"/>
                <a:gd name="T42" fmla="*/ 35719 w 194"/>
                <a:gd name="T43" fmla="*/ 0 h 105"/>
                <a:gd name="T44" fmla="*/ 35719 w 194"/>
                <a:gd name="T45" fmla="*/ 4007 h 105"/>
                <a:gd name="T46" fmla="*/ 38894 w 194"/>
                <a:gd name="T47" fmla="*/ 4007 h 105"/>
                <a:gd name="T48" fmla="*/ 38894 w 194"/>
                <a:gd name="T49" fmla="*/ 7212 h 105"/>
                <a:gd name="T50" fmla="*/ 38894 w 194"/>
                <a:gd name="T51" fmla="*/ 14424 h 105"/>
                <a:gd name="T52" fmla="*/ 35719 w 194"/>
                <a:gd name="T53" fmla="*/ 14424 h 105"/>
                <a:gd name="T54" fmla="*/ 35719 w 194"/>
                <a:gd name="T55" fmla="*/ 21635 h 105"/>
                <a:gd name="T56" fmla="*/ 31750 w 194"/>
                <a:gd name="T57" fmla="*/ 21635 h 105"/>
                <a:gd name="T58" fmla="*/ 28575 w 194"/>
                <a:gd name="T59" fmla="*/ 21635 h 105"/>
                <a:gd name="T60" fmla="*/ 24606 w 194"/>
                <a:gd name="T61" fmla="*/ 21635 h 105"/>
                <a:gd name="T62" fmla="*/ 24606 w 194"/>
                <a:gd name="T63" fmla="*/ 17629 h 105"/>
                <a:gd name="T64" fmla="*/ 24606 w 194"/>
                <a:gd name="T65" fmla="*/ 14424 h 105"/>
                <a:gd name="T66" fmla="*/ 28575 w 194"/>
                <a:gd name="T67" fmla="*/ 14424 h 105"/>
                <a:gd name="T68" fmla="*/ 24606 w 194"/>
                <a:gd name="T69" fmla="*/ 14424 h 105"/>
                <a:gd name="T70" fmla="*/ 18256 w 194"/>
                <a:gd name="T71" fmla="*/ 14424 h 105"/>
                <a:gd name="T72" fmla="*/ 14288 w 194"/>
                <a:gd name="T73" fmla="*/ 14424 h 105"/>
                <a:gd name="T74" fmla="*/ 10319 w 194"/>
                <a:gd name="T75" fmla="*/ 14424 h 105"/>
                <a:gd name="T76" fmla="*/ 7938 w 194"/>
                <a:gd name="T77" fmla="*/ 14424 h 105"/>
                <a:gd name="T78" fmla="*/ 7938 w 194"/>
                <a:gd name="T79" fmla="*/ 11218 h 105"/>
                <a:gd name="T80" fmla="*/ 3969 w 194"/>
                <a:gd name="T81" fmla="*/ 11218 h 105"/>
                <a:gd name="T82" fmla="*/ 3969 w 194"/>
                <a:gd name="T83" fmla="*/ 7212 h 105"/>
                <a:gd name="T84" fmla="*/ 3969 w 194"/>
                <a:gd name="T85" fmla="*/ 4007 h 105"/>
                <a:gd name="T86" fmla="*/ 3969 w 194"/>
                <a:gd name="T87" fmla="*/ 7212 h 1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4"/>
                <a:gd name="T133" fmla="*/ 0 h 105"/>
                <a:gd name="T134" fmla="*/ 194 w 194"/>
                <a:gd name="T135" fmla="*/ 105 h 10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4" h="105">
                  <a:moveTo>
                    <a:pt x="19" y="34"/>
                  </a:moveTo>
                  <a:lnTo>
                    <a:pt x="19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17"/>
                  </a:lnTo>
                  <a:lnTo>
                    <a:pt x="71" y="53"/>
                  </a:lnTo>
                  <a:lnTo>
                    <a:pt x="106" y="53"/>
                  </a:lnTo>
                  <a:lnTo>
                    <a:pt x="89" y="53"/>
                  </a:lnTo>
                  <a:lnTo>
                    <a:pt x="71" y="34"/>
                  </a:lnTo>
                  <a:lnTo>
                    <a:pt x="71" y="17"/>
                  </a:lnTo>
                  <a:lnTo>
                    <a:pt x="89" y="34"/>
                  </a:lnTo>
                  <a:lnTo>
                    <a:pt x="125" y="34"/>
                  </a:lnTo>
                  <a:lnTo>
                    <a:pt x="125" y="53"/>
                  </a:lnTo>
                  <a:lnTo>
                    <a:pt x="125" y="34"/>
                  </a:lnTo>
                  <a:lnTo>
                    <a:pt x="125" y="17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42" y="17"/>
                  </a:lnTo>
                  <a:lnTo>
                    <a:pt x="160" y="17"/>
                  </a:lnTo>
                  <a:lnTo>
                    <a:pt x="177" y="17"/>
                  </a:lnTo>
                  <a:lnTo>
                    <a:pt x="177" y="0"/>
                  </a:lnTo>
                  <a:lnTo>
                    <a:pt x="177" y="17"/>
                  </a:lnTo>
                  <a:lnTo>
                    <a:pt x="194" y="17"/>
                  </a:lnTo>
                  <a:lnTo>
                    <a:pt x="194" y="34"/>
                  </a:lnTo>
                  <a:lnTo>
                    <a:pt x="194" y="71"/>
                  </a:lnTo>
                  <a:lnTo>
                    <a:pt x="177" y="71"/>
                  </a:lnTo>
                  <a:lnTo>
                    <a:pt x="177" y="105"/>
                  </a:lnTo>
                  <a:lnTo>
                    <a:pt x="160" y="105"/>
                  </a:lnTo>
                  <a:lnTo>
                    <a:pt x="142" y="105"/>
                  </a:lnTo>
                  <a:lnTo>
                    <a:pt x="125" y="105"/>
                  </a:lnTo>
                  <a:lnTo>
                    <a:pt x="125" y="88"/>
                  </a:lnTo>
                  <a:lnTo>
                    <a:pt x="125" y="71"/>
                  </a:lnTo>
                  <a:lnTo>
                    <a:pt x="142" y="71"/>
                  </a:lnTo>
                  <a:lnTo>
                    <a:pt x="125" y="71"/>
                  </a:lnTo>
                  <a:lnTo>
                    <a:pt x="89" y="71"/>
                  </a:lnTo>
                  <a:lnTo>
                    <a:pt x="71" y="71"/>
                  </a:lnTo>
                  <a:lnTo>
                    <a:pt x="54" y="71"/>
                  </a:lnTo>
                  <a:lnTo>
                    <a:pt x="37" y="71"/>
                  </a:lnTo>
                  <a:lnTo>
                    <a:pt x="37" y="53"/>
                  </a:lnTo>
                  <a:lnTo>
                    <a:pt x="19" y="53"/>
                  </a:lnTo>
                  <a:lnTo>
                    <a:pt x="19" y="34"/>
                  </a:lnTo>
                  <a:lnTo>
                    <a:pt x="19" y="17"/>
                  </a:lnTo>
                  <a:lnTo>
                    <a:pt x="19" y="3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4" name="Freeform 11">
              <a:extLst>
                <a:ext uri="{FF2B5EF4-FFF2-40B4-BE49-F238E27FC236}">
                  <a16:creationId xmlns:a16="http://schemas.microsoft.com/office/drawing/2014/main" id="{197B71AF-67D1-4FA4-A919-74F472A718A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401888" y="2306638"/>
              <a:ext cx="31750" cy="28575"/>
            </a:xfrm>
            <a:custGeom>
              <a:avLst/>
              <a:gdLst>
                <a:gd name="T0" fmla="*/ 9191 w 38"/>
                <a:gd name="T1" fmla="*/ 3969 h 36"/>
                <a:gd name="T2" fmla="*/ 9191 w 38"/>
                <a:gd name="T3" fmla="*/ 7144 h 36"/>
                <a:gd name="T4" fmla="*/ 4178 w 38"/>
                <a:gd name="T5" fmla="*/ 7144 h 36"/>
                <a:gd name="T6" fmla="*/ 0 w 38"/>
                <a:gd name="T7" fmla="*/ 3969 h 36"/>
                <a:gd name="T8" fmla="*/ 0 w 38"/>
                <a:gd name="T9" fmla="*/ 0 h 36"/>
                <a:gd name="T10" fmla="*/ 4178 w 38"/>
                <a:gd name="T11" fmla="*/ 0 h 36"/>
                <a:gd name="T12" fmla="*/ 9191 w 38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6"/>
                <a:gd name="T23" fmla="*/ 38 w 3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6">
                  <a:moveTo>
                    <a:pt x="38" y="17"/>
                  </a:moveTo>
                  <a:lnTo>
                    <a:pt x="38" y="36"/>
                  </a:lnTo>
                  <a:lnTo>
                    <a:pt x="19" y="36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8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5" name="Freeform 12">
              <a:extLst>
                <a:ext uri="{FF2B5EF4-FFF2-40B4-BE49-F238E27FC236}">
                  <a16:creationId xmlns:a16="http://schemas.microsoft.com/office/drawing/2014/main" id="{C7150439-1287-425C-B7B9-67302B4C6E8F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433638" y="2401888"/>
              <a:ext cx="30163" cy="30163"/>
            </a:xfrm>
            <a:custGeom>
              <a:avLst/>
              <a:gdLst>
                <a:gd name="T0" fmla="*/ 3094 w 39"/>
                <a:gd name="T1" fmla="*/ 0 h 36"/>
                <a:gd name="T2" fmla="*/ 6961 w 39"/>
                <a:gd name="T3" fmla="*/ 4189 h 36"/>
                <a:gd name="T4" fmla="*/ 3094 w 39"/>
                <a:gd name="T5" fmla="*/ 8379 h 36"/>
                <a:gd name="T6" fmla="*/ 0 w 39"/>
                <a:gd name="T7" fmla="*/ 8379 h 36"/>
                <a:gd name="T8" fmla="*/ 0 w 39"/>
                <a:gd name="T9" fmla="*/ 4189 h 36"/>
                <a:gd name="T10" fmla="*/ 0 w 39"/>
                <a:gd name="T11" fmla="*/ 0 h 36"/>
                <a:gd name="T12" fmla="*/ 3094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6" name="Freeform 13">
              <a:extLst>
                <a:ext uri="{FF2B5EF4-FFF2-40B4-BE49-F238E27FC236}">
                  <a16:creationId xmlns:a16="http://schemas.microsoft.com/office/drawing/2014/main" id="{F8720996-67AC-4FA6-B655-11C9DFAEC280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487613" y="2293938"/>
              <a:ext cx="28575" cy="12700"/>
            </a:xfrm>
            <a:custGeom>
              <a:avLst/>
              <a:gdLst>
                <a:gd name="T0" fmla="*/ 0 w 37"/>
                <a:gd name="T1" fmla="*/ 3175 h 16"/>
                <a:gd name="T2" fmla="*/ 0 w 37"/>
                <a:gd name="T3" fmla="*/ 0 h 16"/>
                <a:gd name="T4" fmla="*/ 3861 w 37"/>
                <a:gd name="T5" fmla="*/ 0 h 16"/>
                <a:gd name="T6" fmla="*/ 3861 w 37"/>
                <a:gd name="T7" fmla="*/ 3175 h 16"/>
                <a:gd name="T8" fmla="*/ 6951 w 37"/>
                <a:gd name="T9" fmla="*/ 3175 h 16"/>
                <a:gd name="T10" fmla="*/ 3861 w 37"/>
                <a:gd name="T11" fmla="*/ 3175 h 16"/>
                <a:gd name="T12" fmla="*/ 0 w 37"/>
                <a:gd name="T13" fmla="*/ 317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7" name="Freeform 14">
              <a:extLst>
                <a:ext uri="{FF2B5EF4-FFF2-40B4-BE49-F238E27FC236}">
                  <a16:creationId xmlns:a16="http://schemas.microsoft.com/office/drawing/2014/main" id="{30A84C02-7366-4021-A0D5-11B2384BF59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544763" y="2197101"/>
              <a:ext cx="28575" cy="14288"/>
            </a:xfrm>
            <a:custGeom>
              <a:avLst/>
              <a:gdLst>
                <a:gd name="T0" fmla="*/ 6951 w 37"/>
                <a:gd name="T1" fmla="*/ 0 h 19"/>
                <a:gd name="T2" fmla="*/ 6951 w 37"/>
                <a:gd name="T3" fmla="*/ 3008 h 19"/>
                <a:gd name="T4" fmla="*/ 3089 w 37"/>
                <a:gd name="T5" fmla="*/ 3008 h 19"/>
                <a:gd name="T6" fmla="*/ 0 w 37"/>
                <a:gd name="T7" fmla="*/ 0 h 19"/>
                <a:gd name="T8" fmla="*/ 3089 w 37"/>
                <a:gd name="T9" fmla="*/ 0 h 19"/>
                <a:gd name="T10" fmla="*/ 6951 w 37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9"/>
                <a:gd name="T20" fmla="*/ 37 w 3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9">
                  <a:moveTo>
                    <a:pt x="37" y="0"/>
                  </a:moveTo>
                  <a:lnTo>
                    <a:pt x="37" y="19"/>
                  </a:lnTo>
                  <a:lnTo>
                    <a:pt x="18" y="1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8" name="Freeform 15">
              <a:extLst>
                <a:ext uri="{FF2B5EF4-FFF2-40B4-BE49-F238E27FC236}">
                  <a16:creationId xmlns:a16="http://schemas.microsoft.com/office/drawing/2014/main" id="{C9107E8A-981C-4B52-8EF4-5E5E57F8D797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420938" y="2225676"/>
              <a:ext cx="141288" cy="80963"/>
            </a:xfrm>
            <a:custGeom>
              <a:avLst/>
              <a:gdLst>
                <a:gd name="T0" fmla="*/ 24469 w 179"/>
                <a:gd name="T1" fmla="*/ 16669 h 102"/>
                <a:gd name="T2" fmla="*/ 17365 w 179"/>
                <a:gd name="T3" fmla="*/ 13494 h 102"/>
                <a:gd name="T4" fmla="*/ 14208 w 179"/>
                <a:gd name="T5" fmla="*/ 13494 h 102"/>
                <a:gd name="T6" fmla="*/ 11050 w 179"/>
                <a:gd name="T7" fmla="*/ 13494 h 102"/>
                <a:gd name="T8" fmla="*/ 7104 w 179"/>
                <a:gd name="T9" fmla="*/ 13494 h 102"/>
                <a:gd name="T10" fmla="*/ 3157 w 179"/>
                <a:gd name="T11" fmla="*/ 13494 h 102"/>
                <a:gd name="T12" fmla="*/ 3157 w 179"/>
                <a:gd name="T13" fmla="*/ 10319 h 102"/>
                <a:gd name="T14" fmla="*/ 7104 w 179"/>
                <a:gd name="T15" fmla="*/ 10319 h 102"/>
                <a:gd name="T16" fmla="*/ 3157 w 179"/>
                <a:gd name="T17" fmla="*/ 10319 h 102"/>
                <a:gd name="T18" fmla="*/ 3157 w 179"/>
                <a:gd name="T19" fmla="*/ 7144 h 102"/>
                <a:gd name="T20" fmla="*/ 0 w 179"/>
                <a:gd name="T21" fmla="*/ 7144 h 102"/>
                <a:gd name="T22" fmla="*/ 0 w 179"/>
                <a:gd name="T23" fmla="*/ 2381 h 102"/>
                <a:gd name="T24" fmla="*/ 3157 w 179"/>
                <a:gd name="T25" fmla="*/ 2381 h 102"/>
                <a:gd name="T26" fmla="*/ 3157 w 179"/>
                <a:gd name="T27" fmla="*/ 0 h 102"/>
                <a:gd name="T28" fmla="*/ 7104 w 179"/>
                <a:gd name="T29" fmla="*/ 2381 h 102"/>
                <a:gd name="T30" fmla="*/ 11050 w 179"/>
                <a:gd name="T31" fmla="*/ 2381 h 102"/>
                <a:gd name="T32" fmla="*/ 14208 w 179"/>
                <a:gd name="T33" fmla="*/ 7144 h 102"/>
                <a:gd name="T34" fmla="*/ 14208 w 179"/>
                <a:gd name="T35" fmla="*/ 2381 h 102"/>
                <a:gd name="T36" fmla="*/ 17365 w 179"/>
                <a:gd name="T37" fmla="*/ 2381 h 102"/>
                <a:gd name="T38" fmla="*/ 21312 w 179"/>
                <a:gd name="T39" fmla="*/ 7144 h 102"/>
                <a:gd name="T40" fmla="*/ 21312 w 179"/>
                <a:gd name="T41" fmla="*/ 10319 h 102"/>
                <a:gd name="T42" fmla="*/ 24469 w 179"/>
                <a:gd name="T43" fmla="*/ 10319 h 102"/>
                <a:gd name="T44" fmla="*/ 24469 w 179"/>
                <a:gd name="T45" fmla="*/ 7144 h 102"/>
                <a:gd name="T46" fmla="*/ 28415 w 179"/>
                <a:gd name="T47" fmla="*/ 7144 h 102"/>
                <a:gd name="T48" fmla="*/ 28415 w 179"/>
                <a:gd name="T49" fmla="*/ 10319 h 102"/>
                <a:gd name="T50" fmla="*/ 31573 w 179"/>
                <a:gd name="T51" fmla="*/ 10319 h 102"/>
                <a:gd name="T52" fmla="*/ 28415 w 179"/>
                <a:gd name="T53" fmla="*/ 10319 h 102"/>
                <a:gd name="T54" fmla="*/ 31573 w 179"/>
                <a:gd name="T55" fmla="*/ 13494 h 102"/>
                <a:gd name="T56" fmla="*/ 34730 w 179"/>
                <a:gd name="T57" fmla="*/ 16669 h 102"/>
                <a:gd name="T58" fmla="*/ 34730 w 179"/>
                <a:gd name="T59" fmla="*/ 20638 h 102"/>
                <a:gd name="T60" fmla="*/ 31573 w 179"/>
                <a:gd name="T61" fmla="*/ 20638 h 102"/>
                <a:gd name="T62" fmla="*/ 28415 w 179"/>
                <a:gd name="T63" fmla="*/ 20638 h 102"/>
                <a:gd name="T64" fmla="*/ 28415 w 179"/>
                <a:gd name="T65" fmla="*/ 16669 h 102"/>
                <a:gd name="T66" fmla="*/ 24469 w 179"/>
                <a:gd name="T67" fmla="*/ 16669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9"/>
                <a:gd name="T103" fmla="*/ 0 h 102"/>
                <a:gd name="T104" fmla="*/ 179 w 179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9" h="102">
                  <a:moveTo>
                    <a:pt x="127" y="84"/>
                  </a:moveTo>
                  <a:lnTo>
                    <a:pt x="90" y="67"/>
                  </a:lnTo>
                  <a:lnTo>
                    <a:pt x="73" y="67"/>
                  </a:lnTo>
                  <a:lnTo>
                    <a:pt x="56" y="67"/>
                  </a:lnTo>
                  <a:lnTo>
                    <a:pt x="39" y="67"/>
                  </a:lnTo>
                  <a:lnTo>
                    <a:pt x="19" y="67"/>
                  </a:lnTo>
                  <a:lnTo>
                    <a:pt x="19" y="50"/>
                  </a:lnTo>
                  <a:lnTo>
                    <a:pt x="39" y="50"/>
                  </a:lnTo>
                  <a:lnTo>
                    <a:pt x="19" y="50"/>
                  </a:lnTo>
                  <a:lnTo>
                    <a:pt x="19" y="33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39" y="15"/>
                  </a:lnTo>
                  <a:lnTo>
                    <a:pt x="56" y="15"/>
                  </a:lnTo>
                  <a:lnTo>
                    <a:pt x="73" y="33"/>
                  </a:lnTo>
                  <a:lnTo>
                    <a:pt x="73" y="15"/>
                  </a:lnTo>
                  <a:lnTo>
                    <a:pt x="90" y="15"/>
                  </a:lnTo>
                  <a:lnTo>
                    <a:pt x="108" y="33"/>
                  </a:lnTo>
                  <a:lnTo>
                    <a:pt x="108" y="50"/>
                  </a:lnTo>
                  <a:lnTo>
                    <a:pt x="127" y="50"/>
                  </a:lnTo>
                  <a:lnTo>
                    <a:pt x="127" y="33"/>
                  </a:lnTo>
                  <a:lnTo>
                    <a:pt x="144" y="33"/>
                  </a:lnTo>
                  <a:lnTo>
                    <a:pt x="144" y="50"/>
                  </a:lnTo>
                  <a:lnTo>
                    <a:pt x="161" y="50"/>
                  </a:lnTo>
                  <a:lnTo>
                    <a:pt x="144" y="50"/>
                  </a:lnTo>
                  <a:lnTo>
                    <a:pt x="161" y="67"/>
                  </a:lnTo>
                  <a:lnTo>
                    <a:pt x="179" y="84"/>
                  </a:lnTo>
                  <a:lnTo>
                    <a:pt x="179" y="102"/>
                  </a:lnTo>
                  <a:lnTo>
                    <a:pt x="161" y="102"/>
                  </a:lnTo>
                  <a:lnTo>
                    <a:pt x="144" y="102"/>
                  </a:lnTo>
                  <a:lnTo>
                    <a:pt x="144" y="84"/>
                  </a:lnTo>
                  <a:lnTo>
                    <a:pt x="127" y="8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49" name="Freeform 16">
              <a:extLst>
                <a:ext uri="{FF2B5EF4-FFF2-40B4-BE49-F238E27FC236}">
                  <a16:creationId xmlns:a16="http://schemas.microsoft.com/office/drawing/2014/main" id="{10325090-FE1B-4B32-822F-5937CEFC8F48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614613" y="2335213"/>
              <a:ext cx="377825" cy="107950"/>
            </a:xfrm>
            <a:custGeom>
              <a:avLst/>
              <a:gdLst>
                <a:gd name="T0" fmla="*/ 91281 w 476"/>
                <a:gd name="T1" fmla="*/ 20637 h 136"/>
                <a:gd name="T2" fmla="*/ 91281 w 476"/>
                <a:gd name="T3" fmla="*/ 23019 h 136"/>
                <a:gd name="T4" fmla="*/ 94456 w 476"/>
                <a:gd name="T5" fmla="*/ 23019 h 136"/>
                <a:gd name="T6" fmla="*/ 91281 w 476"/>
                <a:gd name="T7" fmla="*/ 26988 h 136"/>
                <a:gd name="T8" fmla="*/ 84138 w 476"/>
                <a:gd name="T9" fmla="*/ 26988 h 136"/>
                <a:gd name="T10" fmla="*/ 76994 w 476"/>
                <a:gd name="T11" fmla="*/ 26988 h 136"/>
                <a:gd name="T12" fmla="*/ 73819 w 476"/>
                <a:gd name="T13" fmla="*/ 26988 h 136"/>
                <a:gd name="T14" fmla="*/ 70644 w 476"/>
                <a:gd name="T15" fmla="*/ 26988 h 136"/>
                <a:gd name="T16" fmla="*/ 63500 w 476"/>
                <a:gd name="T17" fmla="*/ 26988 h 136"/>
                <a:gd name="T18" fmla="*/ 56356 w 476"/>
                <a:gd name="T19" fmla="*/ 26988 h 136"/>
                <a:gd name="T20" fmla="*/ 53181 w 476"/>
                <a:gd name="T21" fmla="*/ 26988 h 136"/>
                <a:gd name="T22" fmla="*/ 48419 w 476"/>
                <a:gd name="T23" fmla="*/ 26988 h 136"/>
                <a:gd name="T24" fmla="*/ 45244 w 476"/>
                <a:gd name="T25" fmla="*/ 26988 h 136"/>
                <a:gd name="T26" fmla="*/ 42069 w 476"/>
                <a:gd name="T27" fmla="*/ 26988 h 136"/>
                <a:gd name="T28" fmla="*/ 38100 w 476"/>
                <a:gd name="T29" fmla="*/ 26988 h 136"/>
                <a:gd name="T30" fmla="*/ 31750 w 476"/>
                <a:gd name="T31" fmla="*/ 26988 h 136"/>
                <a:gd name="T32" fmla="*/ 23812 w 476"/>
                <a:gd name="T33" fmla="*/ 23019 h 136"/>
                <a:gd name="T34" fmla="*/ 21431 w 476"/>
                <a:gd name="T35" fmla="*/ 20637 h 136"/>
                <a:gd name="T36" fmla="*/ 23812 w 476"/>
                <a:gd name="T37" fmla="*/ 20637 h 136"/>
                <a:gd name="T38" fmla="*/ 23812 w 476"/>
                <a:gd name="T39" fmla="*/ 16669 h 136"/>
                <a:gd name="T40" fmla="*/ 21431 w 476"/>
                <a:gd name="T41" fmla="*/ 16669 h 136"/>
                <a:gd name="T42" fmla="*/ 17463 w 476"/>
                <a:gd name="T43" fmla="*/ 10319 h 136"/>
                <a:gd name="T44" fmla="*/ 17463 w 476"/>
                <a:gd name="T45" fmla="*/ 7144 h 136"/>
                <a:gd name="T46" fmla="*/ 14288 w 476"/>
                <a:gd name="T47" fmla="*/ 10319 h 136"/>
                <a:gd name="T48" fmla="*/ 7144 w 476"/>
                <a:gd name="T49" fmla="*/ 7144 h 136"/>
                <a:gd name="T50" fmla="*/ 3969 w 476"/>
                <a:gd name="T51" fmla="*/ 3175 h 136"/>
                <a:gd name="T52" fmla="*/ 0 w 476"/>
                <a:gd name="T53" fmla="*/ 3175 h 136"/>
                <a:gd name="T54" fmla="*/ 3969 w 476"/>
                <a:gd name="T55" fmla="*/ 3175 h 136"/>
                <a:gd name="T56" fmla="*/ 3969 w 476"/>
                <a:gd name="T57" fmla="*/ 0 h 136"/>
                <a:gd name="T58" fmla="*/ 14288 w 476"/>
                <a:gd name="T59" fmla="*/ 3175 h 136"/>
                <a:gd name="T60" fmla="*/ 21431 w 476"/>
                <a:gd name="T61" fmla="*/ 7144 h 136"/>
                <a:gd name="T62" fmla="*/ 23812 w 476"/>
                <a:gd name="T63" fmla="*/ 7144 h 136"/>
                <a:gd name="T64" fmla="*/ 23812 w 476"/>
                <a:gd name="T65" fmla="*/ 3175 h 136"/>
                <a:gd name="T66" fmla="*/ 27781 w 476"/>
                <a:gd name="T67" fmla="*/ 3175 h 136"/>
                <a:gd name="T68" fmla="*/ 27781 w 476"/>
                <a:gd name="T69" fmla="*/ 7144 h 136"/>
                <a:gd name="T70" fmla="*/ 34925 w 476"/>
                <a:gd name="T71" fmla="*/ 10319 h 136"/>
                <a:gd name="T72" fmla="*/ 38100 w 476"/>
                <a:gd name="T73" fmla="*/ 10319 h 136"/>
                <a:gd name="T74" fmla="*/ 31750 w 476"/>
                <a:gd name="T75" fmla="*/ 10319 h 136"/>
                <a:gd name="T76" fmla="*/ 27781 w 476"/>
                <a:gd name="T77" fmla="*/ 10319 h 136"/>
                <a:gd name="T78" fmla="*/ 31750 w 476"/>
                <a:gd name="T79" fmla="*/ 16669 h 136"/>
                <a:gd name="T80" fmla="*/ 34925 w 476"/>
                <a:gd name="T81" fmla="*/ 16669 h 136"/>
                <a:gd name="T82" fmla="*/ 38100 w 476"/>
                <a:gd name="T83" fmla="*/ 16669 h 136"/>
                <a:gd name="T84" fmla="*/ 45244 w 476"/>
                <a:gd name="T85" fmla="*/ 16669 h 136"/>
                <a:gd name="T86" fmla="*/ 48419 w 476"/>
                <a:gd name="T87" fmla="*/ 20637 h 136"/>
                <a:gd name="T88" fmla="*/ 53181 w 476"/>
                <a:gd name="T89" fmla="*/ 20637 h 136"/>
                <a:gd name="T90" fmla="*/ 59531 w 476"/>
                <a:gd name="T91" fmla="*/ 16669 h 136"/>
                <a:gd name="T92" fmla="*/ 70644 w 476"/>
                <a:gd name="T93" fmla="*/ 16669 h 136"/>
                <a:gd name="T94" fmla="*/ 76994 w 476"/>
                <a:gd name="T95" fmla="*/ 16669 h 136"/>
                <a:gd name="T96" fmla="*/ 84138 w 476"/>
                <a:gd name="T97" fmla="*/ 16669 h 136"/>
                <a:gd name="T98" fmla="*/ 87313 w 476"/>
                <a:gd name="T99" fmla="*/ 16669 h 136"/>
                <a:gd name="T100" fmla="*/ 94456 w 476"/>
                <a:gd name="T101" fmla="*/ 20637 h 136"/>
                <a:gd name="T102" fmla="*/ 91281 w 476"/>
                <a:gd name="T103" fmla="*/ 20637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6"/>
                <a:gd name="T157" fmla="*/ 0 h 136"/>
                <a:gd name="T158" fmla="*/ 476 w 476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6" h="136">
                  <a:moveTo>
                    <a:pt x="457" y="104"/>
                  </a:moveTo>
                  <a:lnTo>
                    <a:pt x="457" y="119"/>
                  </a:lnTo>
                  <a:lnTo>
                    <a:pt x="476" y="119"/>
                  </a:lnTo>
                  <a:lnTo>
                    <a:pt x="457" y="136"/>
                  </a:lnTo>
                  <a:lnTo>
                    <a:pt x="422" y="136"/>
                  </a:lnTo>
                  <a:lnTo>
                    <a:pt x="388" y="136"/>
                  </a:lnTo>
                  <a:lnTo>
                    <a:pt x="370" y="136"/>
                  </a:lnTo>
                  <a:lnTo>
                    <a:pt x="353" y="136"/>
                  </a:lnTo>
                  <a:lnTo>
                    <a:pt x="317" y="136"/>
                  </a:lnTo>
                  <a:lnTo>
                    <a:pt x="282" y="136"/>
                  </a:lnTo>
                  <a:lnTo>
                    <a:pt x="265" y="136"/>
                  </a:lnTo>
                  <a:lnTo>
                    <a:pt x="247" y="136"/>
                  </a:lnTo>
                  <a:lnTo>
                    <a:pt x="228" y="136"/>
                  </a:lnTo>
                  <a:lnTo>
                    <a:pt x="211" y="136"/>
                  </a:lnTo>
                  <a:lnTo>
                    <a:pt x="192" y="136"/>
                  </a:lnTo>
                  <a:lnTo>
                    <a:pt x="157" y="136"/>
                  </a:lnTo>
                  <a:lnTo>
                    <a:pt x="123" y="119"/>
                  </a:lnTo>
                  <a:lnTo>
                    <a:pt x="105" y="104"/>
                  </a:lnTo>
                  <a:lnTo>
                    <a:pt x="123" y="104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6" y="52"/>
                  </a:lnTo>
                  <a:lnTo>
                    <a:pt x="86" y="35"/>
                  </a:lnTo>
                  <a:lnTo>
                    <a:pt x="69" y="52"/>
                  </a:lnTo>
                  <a:lnTo>
                    <a:pt x="34" y="35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69" y="17"/>
                  </a:lnTo>
                  <a:lnTo>
                    <a:pt x="105" y="35"/>
                  </a:lnTo>
                  <a:lnTo>
                    <a:pt x="123" y="35"/>
                  </a:lnTo>
                  <a:lnTo>
                    <a:pt x="123" y="17"/>
                  </a:lnTo>
                  <a:lnTo>
                    <a:pt x="140" y="17"/>
                  </a:lnTo>
                  <a:lnTo>
                    <a:pt x="140" y="35"/>
                  </a:lnTo>
                  <a:lnTo>
                    <a:pt x="174" y="52"/>
                  </a:lnTo>
                  <a:lnTo>
                    <a:pt x="192" y="52"/>
                  </a:lnTo>
                  <a:lnTo>
                    <a:pt x="157" y="52"/>
                  </a:lnTo>
                  <a:lnTo>
                    <a:pt x="140" y="52"/>
                  </a:lnTo>
                  <a:lnTo>
                    <a:pt x="157" y="87"/>
                  </a:lnTo>
                  <a:lnTo>
                    <a:pt x="174" y="87"/>
                  </a:lnTo>
                  <a:lnTo>
                    <a:pt x="192" y="87"/>
                  </a:lnTo>
                  <a:lnTo>
                    <a:pt x="228" y="87"/>
                  </a:lnTo>
                  <a:lnTo>
                    <a:pt x="247" y="104"/>
                  </a:lnTo>
                  <a:lnTo>
                    <a:pt x="265" y="104"/>
                  </a:lnTo>
                  <a:lnTo>
                    <a:pt x="299" y="87"/>
                  </a:lnTo>
                  <a:lnTo>
                    <a:pt x="353" y="87"/>
                  </a:lnTo>
                  <a:lnTo>
                    <a:pt x="388" y="87"/>
                  </a:lnTo>
                  <a:lnTo>
                    <a:pt x="422" y="87"/>
                  </a:lnTo>
                  <a:lnTo>
                    <a:pt x="439" y="87"/>
                  </a:lnTo>
                  <a:lnTo>
                    <a:pt x="476" y="104"/>
                  </a:lnTo>
                  <a:lnTo>
                    <a:pt x="457" y="10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50" name="Freeform 17">
              <a:extLst>
                <a:ext uri="{FF2B5EF4-FFF2-40B4-BE49-F238E27FC236}">
                  <a16:creationId xmlns:a16="http://schemas.microsoft.com/office/drawing/2014/main" id="{039E4FCD-D3A1-4A8F-B8F8-C9988332D6D0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614613" y="2401888"/>
              <a:ext cx="68263" cy="41275"/>
            </a:xfrm>
            <a:custGeom>
              <a:avLst/>
              <a:gdLst>
                <a:gd name="T0" fmla="*/ 3969 w 86"/>
                <a:gd name="T1" fmla="*/ 4047 h 51"/>
                <a:gd name="T2" fmla="*/ 3969 w 86"/>
                <a:gd name="T3" fmla="*/ 0 h 51"/>
                <a:gd name="T4" fmla="*/ 10319 w 86"/>
                <a:gd name="T5" fmla="*/ 0 h 51"/>
                <a:gd name="T6" fmla="*/ 14288 w 86"/>
                <a:gd name="T7" fmla="*/ 0 h 51"/>
                <a:gd name="T8" fmla="*/ 14288 w 86"/>
                <a:gd name="T9" fmla="*/ 4047 h 51"/>
                <a:gd name="T10" fmla="*/ 17463 w 86"/>
                <a:gd name="T11" fmla="*/ 7284 h 51"/>
                <a:gd name="T12" fmla="*/ 14288 w 86"/>
                <a:gd name="T13" fmla="*/ 10521 h 51"/>
                <a:gd name="T14" fmla="*/ 10319 w 86"/>
                <a:gd name="T15" fmla="*/ 10521 h 51"/>
                <a:gd name="T16" fmla="*/ 3969 w 86"/>
                <a:gd name="T17" fmla="*/ 7284 h 51"/>
                <a:gd name="T18" fmla="*/ 0 w 86"/>
                <a:gd name="T19" fmla="*/ 7284 h 51"/>
                <a:gd name="T20" fmla="*/ 3969 w 86"/>
                <a:gd name="T21" fmla="*/ 4047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51"/>
                <a:gd name="T35" fmla="*/ 86 w 86"/>
                <a:gd name="T36" fmla="*/ 51 h 5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51">
                  <a:moveTo>
                    <a:pt x="17" y="17"/>
                  </a:moveTo>
                  <a:lnTo>
                    <a:pt x="17" y="0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86" y="34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17" y="34"/>
                  </a:lnTo>
                  <a:lnTo>
                    <a:pt x="0" y="34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51" name="Freeform 18">
              <a:extLst>
                <a:ext uri="{FF2B5EF4-FFF2-40B4-BE49-F238E27FC236}">
                  <a16:creationId xmlns:a16="http://schemas.microsoft.com/office/drawing/2014/main" id="{7A0CB263-AD68-4169-ABF5-BB9E775204E0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627313" y="2306638"/>
              <a:ext cx="55563" cy="12700"/>
            </a:xfrm>
            <a:custGeom>
              <a:avLst/>
              <a:gdLst>
                <a:gd name="T0" fmla="*/ 10174 w 71"/>
                <a:gd name="T1" fmla="*/ 0 h 17"/>
                <a:gd name="T2" fmla="*/ 13304 w 71"/>
                <a:gd name="T3" fmla="*/ 0 h 17"/>
                <a:gd name="T4" fmla="*/ 13304 w 71"/>
                <a:gd name="T5" fmla="*/ 2988 h 17"/>
                <a:gd name="T6" fmla="*/ 10174 w 71"/>
                <a:gd name="T7" fmla="*/ 2988 h 17"/>
                <a:gd name="T8" fmla="*/ 7043 w 71"/>
                <a:gd name="T9" fmla="*/ 2988 h 17"/>
                <a:gd name="T10" fmla="*/ 0 w 71"/>
                <a:gd name="T11" fmla="*/ 0 h 17"/>
                <a:gd name="T12" fmla="*/ 7043 w 71"/>
                <a:gd name="T13" fmla="*/ 0 h 17"/>
                <a:gd name="T14" fmla="*/ 10174 w 71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17"/>
                <a:gd name="T26" fmla="*/ 71 w 7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17">
                  <a:moveTo>
                    <a:pt x="54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37" y="17"/>
                  </a:lnTo>
                  <a:lnTo>
                    <a:pt x="0" y="0"/>
                  </a:lnTo>
                  <a:lnTo>
                    <a:pt x="37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52" name="Freeform 19">
              <a:extLst>
                <a:ext uri="{FF2B5EF4-FFF2-40B4-BE49-F238E27FC236}">
                  <a16:creationId xmlns:a16="http://schemas.microsoft.com/office/drawing/2014/main" id="{4477F2E0-1F98-4474-B8EF-5585B402A069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578100" y="2251076"/>
              <a:ext cx="82550" cy="55563"/>
            </a:xfrm>
            <a:custGeom>
              <a:avLst/>
              <a:gdLst>
                <a:gd name="T0" fmla="*/ 7144 w 104"/>
                <a:gd name="T1" fmla="*/ 14495 h 69"/>
                <a:gd name="T2" fmla="*/ 7144 w 104"/>
                <a:gd name="T3" fmla="*/ 10468 h 69"/>
                <a:gd name="T4" fmla="*/ 3969 w 104"/>
                <a:gd name="T5" fmla="*/ 7247 h 69"/>
                <a:gd name="T6" fmla="*/ 0 w 104"/>
                <a:gd name="T7" fmla="*/ 4026 h 69"/>
                <a:gd name="T8" fmla="*/ 3969 w 104"/>
                <a:gd name="T9" fmla="*/ 0 h 69"/>
                <a:gd name="T10" fmla="*/ 7144 w 104"/>
                <a:gd name="T11" fmla="*/ 0 h 69"/>
                <a:gd name="T12" fmla="*/ 7144 w 104"/>
                <a:gd name="T13" fmla="*/ 4026 h 69"/>
                <a:gd name="T14" fmla="*/ 10319 w 104"/>
                <a:gd name="T15" fmla="*/ 4026 h 69"/>
                <a:gd name="T16" fmla="*/ 14288 w 104"/>
                <a:gd name="T17" fmla="*/ 4026 h 69"/>
                <a:gd name="T18" fmla="*/ 17463 w 104"/>
                <a:gd name="T19" fmla="*/ 4026 h 69"/>
                <a:gd name="T20" fmla="*/ 20638 w 104"/>
                <a:gd name="T21" fmla="*/ 7247 h 69"/>
                <a:gd name="T22" fmla="*/ 17463 w 104"/>
                <a:gd name="T23" fmla="*/ 7247 h 69"/>
                <a:gd name="T24" fmla="*/ 17463 w 104"/>
                <a:gd name="T25" fmla="*/ 10468 h 69"/>
                <a:gd name="T26" fmla="*/ 20638 w 104"/>
                <a:gd name="T27" fmla="*/ 14495 h 69"/>
                <a:gd name="T28" fmla="*/ 14288 w 104"/>
                <a:gd name="T29" fmla="*/ 14495 h 69"/>
                <a:gd name="T30" fmla="*/ 7144 w 104"/>
                <a:gd name="T31" fmla="*/ 14495 h 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69"/>
                <a:gd name="T50" fmla="*/ 104 w 104"/>
                <a:gd name="T51" fmla="*/ 69 h 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69">
                  <a:moveTo>
                    <a:pt x="34" y="69"/>
                  </a:moveTo>
                  <a:lnTo>
                    <a:pt x="34" y="51"/>
                  </a:lnTo>
                  <a:lnTo>
                    <a:pt x="17" y="34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7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86" y="34"/>
                  </a:lnTo>
                  <a:lnTo>
                    <a:pt x="86" y="51"/>
                  </a:lnTo>
                  <a:lnTo>
                    <a:pt x="104" y="69"/>
                  </a:lnTo>
                  <a:lnTo>
                    <a:pt x="69" y="69"/>
                  </a:lnTo>
                  <a:lnTo>
                    <a:pt x="34" y="6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59" name="Freeform 20">
              <a:extLst>
                <a:ext uri="{FF2B5EF4-FFF2-40B4-BE49-F238E27FC236}">
                  <a16:creationId xmlns:a16="http://schemas.microsoft.com/office/drawing/2014/main" id="{7C9760E1-9B04-469C-AF51-F57020C85FAF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627313" y="2128838"/>
              <a:ext cx="225425" cy="165100"/>
            </a:xfrm>
            <a:custGeom>
              <a:avLst/>
              <a:gdLst>
                <a:gd name="T0" fmla="*/ 42069 w 284"/>
                <a:gd name="T1" fmla="*/ 17379 h 209"/>
                <a:gd name="T2" fmla="*/ 45244 w 284"/>
                <a:gd name="T3" fmla="*/ 13429 h 209"/>
                <a:gd name="T4" fmla="*/ 45244 w 284"/>
                <a:gd name="T5" fmla="*/ 20539 h 209"/>
                <a:gd name="T6" fmla="*/ 53181 w 284"/>
                <a:gd name="T7" fmla="*/ 20539 h 209"/>
                <a:gd name="T8" fmla="*/ 56356 w 284"/>
                <a:gd name="T9" fmla="*/ 26858 h 209"/>
                <a:gd name="T10" fmla="*/ 45244 w 284"/>
                <a:gd name="T11" fmla="*/ 33968 h 209"/>
                <a:gd name="T12" fmla="*/ 42069 w 284"/>
                <a:gd name="T13" fmla="*/ 30808 h 209"/>
                <a:gd name="T14" fmla="*/ 38894 w 284"/>
                <a:gd name="T15" fmla="*/ 33968 h 209"/>
                <a:gd name="T16" fmla="*/ 42069 w 284"/>
                <a:gd name="T17" fmla="*/ 37128 h 209"/>
                <a:gd name="T18" fmla="*/ 38894 w 284"/>
                <a:gd name="T19" fmla="*/ 41078 h 209"/>
                <a:gd name="T20" fmla="*/ 34925 w 284"/>
                <a:gd name="T21" fmla="*/ 33968 h 209"/>
                <a:gd name="T22" fmla="*/ 30956 w 284"/>
                <a:gd name="T23" fmla="*/ 41078 h 209"/>
                <a:gd name="T24" fmla="*/ 23812 w 284"/>
                <a:gd name="T25" fmla="*/ 41078 h 209"/>
                <a:gd name="T26" fmla="*/ 20637 w 284"/>
                <a:gd name="T27" fmla="*/ 33968 h 209"/>
                <a:gd name="T28" fmla="*/ 14287 w 284"/>
                <a:gd name="T29" fmla="*/ 30808 h 209"/>
                <a:gd name="T30" fmla="*/ 20637 w 284"/>
                <a:gd name="T31" fmla="*/ 26858 h 209"/>
                <a:gd name="T32" fmla="*/ 23812 w 284"/>
                <a:gd name="T33" fmla="*/ 26858 h 209"/>
                <a:gd name="T34" fmla="*/ 17462 w 284"/>
                <a:gd name="T35" fmla="*/ 23699 h 209"/>
                <a:gd name="T36" fmla="*/ 14287 w 284"/>
                <a:gd name="T37" fmla="*/ 26858 h 209"/>
                <a:gd name="T38" fmla="*/ 10319 w 284"/>
                <a:gd name="T39" fmla="*/ 26858 h 209"/>
                <a:gd name="T40" fmla="*/ 10319 w 284"/>
                <a:gd name="T41" fmla="*/ 23699 h 209"/>
                <a:gd name="T42" fmla="*/ 7144 w 284"/>
                <a:gd name="T43" fmla="*/ 20539 h 209"/>
                <a:gd name="T44" fmla="*/ 0 w 284"/>
                <a:gd name="T45" fmla="*/ 17379 h 209"/>
                <a:gd name="T46" fmla="*/ 7144 w 284"/>
                <a:gd name="T47" fmla="*/ 17379 h 209"/>
                <a:gd name="T48" fmla="*/ 7144 w 284"/>
                <a:gd name="T49" fmla="*/ 13429 h 209"/>
                <a:gd name="T50" fmla="*/ 0 w 284"/>
                <a:gd name="T51" fmla="*/ 10269 h 209"/>
                <a:gd name="T52" fmla="*/ 7144 w 284"/>
                <a:gd name="T53" fmla="*/ 10269 h 209"/>
                <a:gd name="T54" fmla="*/ 14287 w 284"/>
                <a:gd name="T55" fmla="*/ 10269 h 209"/>
                <a:gd name="T56" fmla="*/ 7144 w 284"/>
                <a:gd name="T57" fmla="*/ 10269 h 209"/>
                <a:gd name="T58" fmla="*/ 10319 w 284"/>
                <a:gd name="T59" fmla="*/ 3160 h 209"/>
                <a:gd name="T60" fmla="*/ 14287 w 284"/>
                <a:gd name="T61" fmla="*/ 6320 h 209"/>
                <a:gd name="T62" fmla="*/ 14287 w 284"/>
                <a:gd name="T63" fmla="*/ 3160 h 209"/>
                <a:gd name="T64" fmla="*/ 10319 w 284"/>
                <a:gd name="T65" fmla="*/ 0 h 209"/>
                <a:gd name="T66" fmla="*/ 20637 w 284"/>
                <a:gd name="T67" fmla="*/ 0 h 209"/>
                <a:gd name="T68" fmla="*/ 23812 w 284"/>
                <a:gd name="T69" fmla="*/ 6320 h 209"/>
                <a:gd name="T70" fmla="*/ 27781 w 284"/>
                <a:gd name="T71" fmla="*/ 10269 h 209"/>
                <a:gd name="T72" fmla="*/ 34925 w 284"/>
                <a:gd name="T73" fmla="*/ 10269 h 209"/>
                <a:gd name="T74" fmla="*/ 38894 w 284"/>
                <a:gd name="T75" fmla="*/ 17379 h 2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4"/>
                <a:gd name="T115" fmla="*/ 0 h 209"/>
                <a:gd name="T116" fmla="*/ 284 w 284"/>
                <a:gd name="T117" fmla="*/ 209 h 2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4" h="209">
                  <a:moveTo>
                    <a:pt x="196" y="88"/>
                  </a:moveTo>
                  <a:lnTo>
                    <a:pt x="213" y="88"/>
                  </a:lnTo>
                  <a:lnTo>
                    <a:pt x="213" y="71"/>
                  </a:lnTo>
                  <a:lnTo>
                    <a:pt x="230" y="71"/>
                  </a:lnTo>
                  <a:lnTo>
                    <a:pt x="230" y="88"/>
                  </a:lnTo>
                  <a:lnTo>
                    <a:pt x="230" y="106"/>
                  </a:lnTo>
                  <a:lnTo>
                    <a:pt x="250" y="106"/>
                  </a:lnTo>
                  <a:lnTo>
                    <a:pt x="267" y="106"/>
                  </a:lnTo>
                  <a:lnTo>
                    <a:pt x="284" y="123"/>
                  </a:lnTo>
                  <a:lnTo>
                    <a:pt x="284" y="138"/>
                  </a:lnTo>
                  <a:lnTo>
                    <a:pt x="250" y="156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213" y="156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213" y="173"/>
                  </a:lnTo>
                  <a:lnTo>
                    <a:pt x="213" y="190"/>
                  </a:lnTo>
                  <a:lnTo>
                    <a:pt x="196" y="190"/>
                  </a:lnTo>
                  <a:lnTo>
                    <a:pt x="196" y="209"/>
                  </a:lnTo>
                  <a:lnTo>
                    <a:pt x="177" y="190"/>
                  </a:lnTo>
                  <a:lnTo>
                    <a:pt x="177" y="173"/>
                  </a:lnTo>
                  <a:lnTo>
                    <a:pt x="159" y="190"/>
                  </a:lnTo>
                  <a:lnTo>
                    <a:pt x="159" y="209"/>
                  </a:lnTo>
                  <a:lnTo>
                    <a:pt x="140" y="209"/>
                  </a:lnTo>
                  <a:lnTo>
                    <a:pt x="123" y="209"/>
                  </a:lnTo>
                  <a:lnTo>
                    <a:pt x="106" y="190"/>
                  </a:lnTo>
                  <a:lnTo>
                    <a:pt x="106" y="173"/>
                  </a:lnTo>
                  <a:lnTo>
                    <a:pt x="71" y="173"/>
                  </a:lnTo>
                  <a:lnTo>
                    <a:pt x="71" y="156"/>
                  </a:lnTo>
                  <a:lnTo>
                    <a:pt x="88" y="138"/>
                  </a:lnTo>
                  <a:lnTo>
                    <a:pt x="106" y="138"/>
                  </a:lnTo>
                  <a:lnTo>
                    <a:pt x="140" y="138"/>
                  </a:lnTo>
                  <a:lnTo>
                    <a:pt x="123" y="138"/>
                  </a:lnTo>
                  <a:lnTo>
                    <a:pt x="106" y="123"/>
                  </a:lnTo>
                  <a:lnTo>
                    <a:pt x="88" y="123"/>
                  </a:lnTo>
                  <a:lnTo>
                    <a:pt x="88" y="138"/>
                  </a:lnTo>
                  <a:lnTo>
                    <a:pt x="71" y="138"/>
                  </a:lnTo>
                  <a:lnTo>
                    <a:pt x="54" y="123"/>
                  </a:lnTo>
                  <a:lnTo>
                    <a:pt x="54" y="138"/>
                  </a:lnTo>
                  <a:lnTo>
                    <a:pt x="35" y="123"/>
                  </a:lnTo>
                  <a:lnTo>
                    <a:pt x="54" y="123"/>
                  </a:lnTo>
                  <a:lnTo>
                    <a:pt x="54" y="106"/>
                  </a:lnTo>
                  <a:lnTo>
                    <a:pt x="35" y="106"/>
                  </a:lnTo>
                  <a:lnTo>
                    <a:pt x="0" y="106"/>
                  </a:lnTo>
                  <a:lnTo>
                    <a:pt x="0" y="88"/>
                  </a:lnTo>
                  <a:lnTo>
                    <a:pt x="17" y="88"/>
                  </a:lnTo>
                  <a:lnTo>
                    <a:pt x="35" y="88"/>
                  </a:lnTo>
                  <a:lnTo>
                    <a:pt x="54" y="88"/>
                  </a:lnTo>
                  <a:lnTo>
                    <a:pt x="35" y="71"/>
                  </a:lnTo>
                  <a:lnTo>
                    <a:pt x="17" y="71"/>
                  </a:lnTo>
                  <a:lnTo>
                    <a:pt x="0" y="54"/>
                  </a:lnTo>
                  <a:lnTo>
                    <a:pt x="17" y="54"/>
                  </a:lnTo>
                  <a:lnTo>
                    <a:pt x="35" y="54"/>
                  </a:lnTo>
                  <a:lnTo>
                    <a:pt x="54" y="54"/>
                  </a:lnTo>
                  <a:lnTo>
                    <a:pt x="71" y="54"/>
                  </a:lnTo>
                  <a:lnTo>
                    <a:pt x="54" y="54"/>
                  </a:lnTo>
                  <a:lnTo>
                    <a:pt x="35" y="54"/>
                  </a:lnTo>
                  <a:lnTo>
                    <a:pt x="35" y="35"/>
                  </a:lnTo>
                  <a:lnTo>
                    <a:pt x="54" y="17"/>
                  </a:lnTo>
                  <a:lnTo>
                    <a:pt x="54" y="35"/>
                  </a:lnTo>
                  <a:lnTo>
                    <a:pt x="71" y="35"/>
                  </a:lnTo>
                  <a:lnTo>
                    <a:pt x="88" y="35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123" y="35"/>
                  </a:lnTo>
                  <a:lnTo>
                    <a:pt x="123" y="54"/>
                  </a:lnTo>
                  <a:lnTo>
                    <a:pt x="140" y="54"/>
                  </a:lnTo>
                  <a:lnTo>
                    <a:pt x="159" y="54"/>
                  </a:lnTo>
                  <a:lnTo>
                    <a:pt x="177" y="54"/>
                  </a:lnTo>
                  <a:lnTo>
                    <a:pt x="196" y="71"/>
                  </a:lnTo>
                  <a:lnTo>
                    <a:pt x="196" y="8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0" name="Freeform 21">
              <a:extLst>
                <a:ext uri="{FF2B5EF4-FFF2-40B4-BE49-F238E27FC236}">
                  <a16:creationId xmlns:a16="http://schemas.microsoft.com/office/drawing/2014/main" id="{DEA0271F-7293-4761-A999-E5F9A8894747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709863" y="2033588"/>
              <a:ext cx="674688" cy="341313"/>
            </a:xfrm>
            <a:custGeom>
              <a:avLst/>
              <a:gdLst>
                <a:gd name="T0" fmla="*/ 134460 w 848"/>
                <a:gd name="T1" fmla="*/ 7144 h 430"/>
                <a:gd name="T2" fmla="*/ 151964 w 848"/>
                <a:gd name="T3" fmla="*/ 3969 h 430"/>
                <a:gd name="T4" fmla="*/ 165490 w 848"/>
                <a:gd name="T5" fmla="*/ 10319 h 430"/>
                <a:gd name="T6" fmla="*/ 165490 w 848"/>
                <a:gd name="T7" fmla="*/ 14288 h 430"/>
                <a:gd name="T8" fmla="*/ 137643 w 848"/>
                <a:gd name="T9" fmla="*/ 23813 h 430"/>
                <a:gd name="T10" fmla="*/ 151964 w 848"/>
                <a:gd name="T11" fmla="*/ 23813 h 430"/>
                <a:gd name="T12" fmla="*/ 130482 w 848"/>
                <a:gd name="T13" fmla="*/ 34925 h 430"/>
                <a:gd name="T14" fmla="*/ 112978 w 848"/>
                <a:gd name="T15" fmla="*/ 44450 h 430"/>
                <a:gd name="T16" fmla="*/ 102635 w 848"/>
                <a:gd name="T17" fmla="*/ 44450 h 430"/>
                <a:gd name="T18" fmla="*/ 95475 w 848"/>
                <a:gd name="T19" fmla="*/ 51594 h 430"/>
                <a:gd name="T20" fmla="*/ 95475 w 848"/>
                <a:gd name="T21" fmla="*/ 57944 h 430"/>
                <a:gd name="T22" fmla="*/ 85132 w 848"/>
                <a:gd name="T23" fmla="*/ 68263 h 430"/>
                <a:gd name="T24" fmla="*/ 77971 w 848"/>
                <a:gd name="T25" fmla="*/ 72231 h 430"/>
                <a:gd name="T26" fmla="*/ 73993 w 848"/>
                <a:gd name="T27" fmla="*/ 78581 h 430"/>
                <a:gd name="T28" fmla="*/ 70810 w 848"/>
                <a:gd name="T29" fmla="*/ 85725 h 430"/>
                <a:gd name="T30" fmla="*/ 56489 w 848"/>
                <a:gd name="T31" fmla="*/ 82550 h 430"/>
                <a:gd name="T32" fmla="*/ 38986 w 848"/>
                <a:gd name="T33" fmla="*/ 82550 h 430"/>
                <a:gd name="T34" fmla="*/ 32621 w 848"/>
                <a:gd name="T35" fmla="*/ 85725 h 430"/>
                <a:gd name="T36" fmla="*/ 14321 w 848"/>
                <a:gd name="T37" fmla="*/ 82550 h 430"/>
                <a:gd name="T38" fmla="*/ 28642 w 848"/>
                <a:gd name="T39" fmla="*/ 75406 h 430"/>
                <a:gd name="T40" fmla="*/ 24664 w 848"/>
                <a:gd name="T41" fmla="*/ 68263 h 430"/>
                <a:gd name="T42" fmla="*/ 38986 w 848"/>
                <a:gd name="T43" fmla="*/ 72231 h 430"/>
                <a:gd name="T44" fmla="*/ 35803 w 848"/>
                <a:gd name="T45" fmla="*/ 68263 h 430"/>
                <a:gd name="T46" fmla="*/ 28642 w 848"/>
                <a:gd name="T47" fmla="*/ 65088 h 430"/>
                <a:gd name="T48" fmla="*/ 24664 w 848"/>
                <a:gd name="T49" fmla="*/ 57944 h 430"/>
                <a:gd name="T50" fmla="*/ 35803 w 848"/>
                <a:gd name="T51" fmla="*/ 57944 h 430"/>
                <a:gd name="T52" fmla="*/ 38986 w 848"/>
                <a:gd name="T53" fmla="*/ 44450 h 430"/>
                <a:gd name="T54" fmla="*/ 32621 w 848"/>
                <a:gd name="T55" fmla="*/ 41275 h 430"/>
                <a:gd name="T56" fmla="*/ 32621 w 848"/>
                <a:gd name="T57" fmla="*/ 38100 h 430"/>
                <a:gd name="T58" fmla="*/ 42964 w 848"/>
                <a:gd name="T59" fmla="*/ 38100 h 430"/>
                <a:gd name="T60" fmla="*/ 56489 w 848"/>
                <a:gd name="T61" fmla="*/ 44450 h 430"/>
                <a:gd name="T62" fmla="*/ 49329 w 848"/>
                <a:gd name="T63" fmla="*/ 38100 h 430"/>
                <a:gd name="T64" fmla="*/ 60467 w 848"/>
                <a:gd name="T65" fmla="*/ 38100 h 430"/>
                <a:gd name="T66" fmla="*/ 70810 w 848"/>
                <a:gd name="T67" fmla="*/ 34925 h 430"/>
                <a:gd name="T68" fmla="*/ 56489 w 848"/>
                <a:gd name="T69" fmla="*/ 34925 h 430"/>
                <a:gd name="T70" fmla="*/ 42964 w 848"/>
                <a:gd name="T71" fmla="*/ 34925 h 430"/>
                <a:gd name="T72" fmla="*/ 32621 w 848"/>
                <a:gd name="T73" fmla="*/ 34925 h 430"/>
                <a:gd name="T74" fmla="*/ 18299 w 848"/>
                <a:gd name="T75" fmla="*/ 34925 h 430"/>
                <a:gd name="T76" fmla="*/ 21482 w 848"/>
                <a:gd name="T77" fmla="*/ 27781 h 430"/>
                <a:gd name="T78" fmla="*/ 14321 w 848"/>
                <a:gd name="T79" fmla="*/ 23813 h 430"/>
                <a:gd name="T80" fmla="*/ 21482 w 848"/>
                <a:gd name="T81" fmla="*/ 23813 h 430"/>
                <a:gd name="T82" fmla="*/ 11139 w 848"/>
                <a:gd name="T83" fmla="*/ 23813 h 430"/>
                <a:gd name="T84" fmla="*/ 7161 w 848"/>
                <a:gd name="T85" fmla="*/ 23813 h 430"/>
                <a:gd name="T86" fmla="*/ 3978 w 848"/>
                <a:gd name="T87" fmla="*/ 20638 h 430"/>
                <a:gd name="T88" fmla="*/ 24664 w 848"/>
                <a:gd name="T89" fmla="*/ 14288 h 430"/>
                <a:gd name="T90" fmla="*/ 38986 w 848"/>
                <a:gd name="T91" fmla="*/ 10319 h 430"/>
                <a:gd name="T92" fmla="*/ 49329 w 848"/>
                <a:gd name="T93" fmla="*/ 10319 h 430"/>
                <a:gd name="T94" fmla="*/ 60467 w 848"/>
                <a:gd name="T95" fmla="*/ 7144 h 430"/>
                <a:gd name="T96" fmla="*/ 70810 w 848"/>
                <a:gd name="T97" fmla="*/ 3969 h 430"/>
                <a:gd name="T98" fmla="*/ 88314 w 848"/>
                <a:gd name="T99" fmla="*/ 0 h 430"/>
                <a:gd name="T100" fmla="*/ 98657 w 848"/>
                <a:gd name="T101" fmla="*/ 3969 h 430"/>
                <a:gd name="T102" fmla="*/ 105818 w 848"/>
                <a:gd name="T103" fmla="*/ 0 h 430"/>
                <a:gd name="T104" fmla="*/ 120139 w 848"/>
                <a:gd name="T105" fmla="*/ 0 h 43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48"/>
                <a:gd name="T160" fmla="*/ 0 h 430"/>
                <a:gd name="T161" fmla="*/ 848 w 848"/>
                <a:gd name="T162" fmla="*/ 430 h 43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48" h="430">
                  <a:moveTo>
                    <a:pt x="708" y="17"/>
                  </a:moveTo>
                  <a:lnTo>
                    <a:pt x="689" y="35"/>
                  </a:lnTo>
                  <a:lnTo>
                    <a:pt x="672" y="35"/>
                  </a:lnTo>
                  <a:lnTo>
                    <a:pt x="708" y="35"/>
                  </a:lnTo>
                  <a:lnTo>
                    <a:pt x="725" y="17"/>
                  </a:lnTo>
                  <a:lnTo>
                    <a:pt x="760" y="17"/>
                  </a:lnTo>
                  <a:lnTo>
                    <a:pt x="777" y="35"/>
                  </a:lnTo>
                  <a:lnTo>
                    <a:pt x="814" y="52"/>
                  </a:lnTo>
                  <a:lnTo>
                    <a:pt x="831" y="52"/>
                  </a:lnTo>
                  <a:lnTo>
                    <a:pt x="848" y="52"/>
                  </a:lnTo>
                  <a:lnTo>
                    <a:pt x="848" y="69"/>
                  </a:lnTo>
                  <a:lnTo>
                    <a:pt x="831" y="69"/>
                  </a:lnTo>
                  <a:lnTo>
                    <a:pt x="777" y="87"/>
                  </a:lnTo>
                  <a:lnTo>
                    <a:pt x="743" y="104"/>
                  </a:lnTo>
                  <a:lnTo>
                    <a:pt x="689" y="121"/>
                  </a:lnTo>
                  <a:lnTo>
                    <a:pt x="708" y="121"/>
                  </a:lnTo>
                  <a:lnTo>
                    <a:pt x="743" y="121"/>
                  </a:lnTo>
                  <a:lnTo>
                    <a:pt x="760" y="121"/>
                  </a:lnTo>
                  <a:lnTo>
                    <a:pt x="725" y="138"/>
                  </a:lnTo>
                  <a:lnTo>
                    <a:pt x="689" y="156"/>
                  </a:lnTo>
                  <a:lnTo>
                    <a:pt x="654" y="173"/>
                  </a:lnTo>
                  <a:lnTo>
                    <a:pt x="620" y="173"/>
                  </a:lnTo>
                  <a:lnTo>
                    <a:pt x="583" y="207"/>
                  </a:lnTo>
                  <a:lnTo>
                    <a:pt x="566" y="225"/>
                  </a:lnTo>
                  <a:lnTo>
                    <a:pt x="549" y="225"/>
                  </a:lnTo>
                  <a:lnTo>
                    <a:pt x="531" y="225"/>
                  </a:lnTo>
                  <a:lnTo>
                    <a:pt x="514" y="225"/>
                  </a:lnTo>
                  <a:lnTo>
                    <a:pt x="478" y="242"/>
                  </a:lnTo>
                  <a:lnTo>
                    <a:pt x="459" y="257"/>
                  </a:lnTo>
                  <a:lnTo>
                    <a:pt x="478" y="257"/>
                  </a:lnTo>
                  <a:lnTo>
                    <a:pt x="478" y="275"/>
                  </a:lnTo>
                  <a:lnTo>
                    <a:pt x="459" y="275"/>
                  </a:lnTo>
                  <a:lnTo>
                    <a:pt x="478" y="292"/>
                  </a:lnTo>
                  <a:lnTo>
                    <a:pt x="459" y="309"/>
                  </a:lnTo>
                  <a:lnTo>
                    <a:pt x="441" y="326"/>
                  </a:lnTo>
                  <a:lnTo>
                    <a:pt x="424" y="344"/>
                  </a:lnTo>
                  <a:lnTo>
                    <a:pt x="407" y="344"/>
                  </a:lnTo>
                  <a:lnTo>
                    <a:pt x="389" y="344"/>
                  </a:lnTo>
                  <a:lnTo>
                    <a:pt x="389" y="361"/>
                  </a:lnTo>
                  <a:lnTo>
                    <a:pt x="353" y="378"/>
                  </a:lnTo>
                  <a:lnTo>
                    <a:pt x="353" y="396"/>
                  </a:lnTo>
                  <a:lnTo>
                    <a:pt x="372" y="396"/>
                  </a:lnTo>
                  <a:lnTo>
                    <a:pt x="389" y="396"/>
                  </a:lnTo>
                  <a:lnTo>
                    <a:pt x="372" y="413"/>
                  </a:lnTo>
                  <a:lnTo>
                    <a:pt x="353" y="430"/>
                  </a:lnTo>
                  <a:lnTo>
                    <a:pt x="318" y="430"/>
                  </a:lnTo>
                  <a:lnTo>
                    <a:pt x="301" y="430"/>
                  </a:lnTo>
                  <a:lnTo>
                    <a:pt x="284" y="413"/>
                  </a:lnTo>
                  <a:lnTo>
                    <a:pt x="247" y="413"/>
                  </a:lnTo>
                  <a:lnTo>
                    <a:pt x="213" y="413"/>
                  </a:lnTo>
                  <a:lnTo>
                    <a:pt x="196" y="413"/>
                  </a:lnTo>
                  <a:lnTo>
                    <a:pt x="196" y="430"/>
                  </a:lnTo>
                  <a:lnTo>
                    <a:pt x="178" y="430"/>
                  </a:lnTo>
                  <a:lnTo>
                    <a:pt x="161" y="430"/>
                  </a:lnTo>
                  <a:lnTo>
                    <a:pt x="124" y="413"/>
                  </a:lnTo>
                  <a:lnTo>
                    <a:pt x="90" y="413"/>
                  </a:lnTo>
                  <a:lnTo>
                    <a:pt x="71" y="413"/>
                  </a:lnTo>
                  <a:lnTo>
                    <a:pt x="90" y="396"/>
                  </a:lnTo>
                  <a:lnTo>
                    <a:pt x="124" y="378"/>
                  </a:lnTo>
                  <a:lnTo>
                    <a:pt x="142" y="378"/>
                  </a:lnTo>
                  <a:lnTo>
                    <a:pt x="124" y="361"/>
                  </a:lnTo>
                  <a:lnTo>
                    <a:pt x="107" y="344"/>
                  </a:lnTo>
                  <a:lnTo>
                    <a:pt x="124" y="344"/>
                  </a:lnTo>
                  <a:lnTo>
                    <a:pt x="161" y="344"/>
                  </a:lnTo>
                  <a:lnTo>
                    <a:pt x="178" y="344"/>
                  </a:lnTo>
                  <a:lnTo>
                    <a:pt x="196" y="361"/>
                  </a:lnTo>
                  <a:lnTo>
                    <a:pt x="213" y="361"/>
                  </a:lnTo>
                  <a:lnTo>
                    <a:pt x="196" y="344"/>
                  </a:lnTo>
                  <a:lnTo>
                    <a:pt x="178" y="344"/>
                  </a:lnTo>
                  <a:lnTo>
                    <a:pt x="178" y="326"/>
                  </a:lnTo>
                  <a:lnTo>
                    <a:pt x="161" y="326"/>
                  </a:lnTo>
                  <a:lnTo>
                    <a:pt x="142" y="326"/>
                  </a:lnTo>
                  <a:lnTo>
                    <a:pt x="124" y="326"/>
                  </a:lnTo>
                  <a:lnTo>
                    <a:pt x="124" y="309"/>
                  </a:lnTo>
                  <a:lnTo>
                    <a:pt x="124" y="292"/>
                  </a:lnTo>
                  <a:lnTo>
                    <a:pt x="142" y="292"/>
                  </a:lnTo>
                  <a:lnTo>
                    <a:pt x="161" y="292"/>
                  </a:lnTo>
                  <a:lnTo>
                    <a:pt x="178" y="292"/>
                  </a:lnTo>
                  <a:lnTo>
                    <a:pt x="196" y="275"/>
                  </a:lnTo>
                  <a:lnTo>
                    <a:pt x="213" y="257"/>
                  </a:lnTo>
                  <a:lnTo>
                    <a:pt x="196" y="225"/>
                  </a:lnTo>
                  <a:lnTo>
                    <a:pt x="161" y="225"/>
                  </a:lnTo>
                  <a:lnTo>
                    <a:pt x="142" y="207"/>
                  </a:lnTo>
                  <a:lnTo>
                    <a:pt x="161" y="207"/>
                  </a:lnTo>
                  <a:lnTo>
                    <a:pt x="178" y="207"/>
                  </a:lnTo>
                  <a:lnTo>
                    <a:pt x="161" y="207"/>
                  </a:lnTo>
                  <a:lnTo>
                    <a:pt x="161" y="190"/>
                  </a:lnTo>
                  <a:lnTo>
                    <a:pt x="178" y="190"/>
                  </a:lnTo>
                  <a:lnTo>
                    <a:pt x="196" y="190"/>
                  </a:lnTo>
                  <a:lnTo>
                    <a:pt x="213" y="190"/>
                  </a:lnTo>
                  <a:lnTo>
                    <a:pt x="247" y="207"/>
                  </a:lnTo>
                  <a:lnTo>
                    <a:pt x="247" y="225"/>
                  </a:lnTo>
                  <a:lnTo>
                    <a:pt x="284" y="225"/>
                  </a:lnTo>
                  <a:lnTo>
                    <a:pt x="267" y="225"/>
                  </a:lnTo>
                  <a:lnTo>
                    <a:pt x="247" y="207"/>
                  </a:lnTo>
                  <a:lnTo>
                    <a:pt x="247" y="190"/>
                  </a:lnTo>
                  <a:lnTo>
                    <a:pt x="267" y="190"/>
                  </a:lnTo>
                  <a:lnTo>
                    <a:pt x="284" y="190"/>
                  </a:lnTo>
                  <a:lnTo>
                    <a:pt x="301" y="190"/>
                  </a:lnTo>
                  <a:lnTo>
                    <a:pt x="318" y="173"/>
                  </a:lnTo>
                  <a:lnTo>
                    <a:pt x="336" y="173"/>
                  </a:lnTo>
                  <a:lnTo>
                    <a:pt x="353" y="173"/>
                  </a:lnTo>
                  <a:lnTo>
                    <a:pt x="336" y="173"/>
                  </a:lnTo>
                  <a:lnTo>
                    <a:pt x="301" y="173"/>
                  </a:lnTo>
                  <a:lnTo>
                    <a:pt x="284" y="173"/>
                  </a:lnTo>
                  <a:lnTo>
                    <a:pt x="247" y="173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178" y="173"/>
                  </a:lnTo>
                  <a:lnTo>
                    <a:pt x="161" y="173"/>
                  </a:lnTo>
                  <a:lnTo>
                    <a:pt x="142" y="173"/>
                  </a:lnTo>
                  <a:lnTo>
                    <a:pt x="124" y="173"/>
                  </a:lnTo>
                  <a:lnTo>
                    <a:pt x="90" y="173"/>
                  </a:lnTo>
                  <a:lnTo>
                    <a:pt x="71" y="156"/>
                  </a:lnTo>
                  <a:lnTo>
                    <a:pt x="90" y="156"/>
                  </a:lnTo>
                  <a:lnTo>
                    <a:pt x="107" y="138"/>
                  </a:lnTo>
                  <a:lnTo>
                    <a:pt x="90" y="138"/>
                  </a:lnTo>
                  <a:lnTo>
                    <a:pt x="71" y="138"/>
                  </a:lnTo>
                  <a:lnTo>
                    <a:pt x="71" y="121"/>
                  </a:lnTo>
                  <a:lnTo>
                    <a:pt x="90" y="121"/>
                  </a:lnTo>
                  <a:lnTo>
                    <a:pt x="124" y="121"/>
                  </a:lnTo>
                  <a:lnTo>
                    <a:pt x="107" y="121"/>
                  </a:lnTo>
                  <a:lnTo>
                    <a:pt x="90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36" y="121"/>
                  </a:lnTo>
                  <a:lnTo>
                    <a:pt x="17" y="121"/>
                  </a:lnTo>
                  <a:lnTo>
                    <a:pt x="0" y="121"/>
                  </a:lnTo>
                  <a:lnTo>
                    <a:pt x="17" y="104"/>
                  </a:lnTo>
                  <a:lnTo>
                    <a:pt x="71" y="87"/>
                  </a:lnTo>
                  <a:lnTo>
                    <a:pt x="107" y="69"/>
                  </a:lnTo>
                  <a:lnTo>
                    <a:pt x="124" y="69"/>
                  </a:lnTo>
                  <a:lnTo>
                    <a:pt x="161" y="52"/>
                  </a:lnTo>
                  <a:lnTo>
                    <a:pt x="178" y="52"/>
                  </a:lnTo>
                  <a:lnTo>
                    <a:pt x="196" y="52"/>
                  </a:lnTo>
                  <a:lnTo>
                    <a:pt x="213" y="52"/>
                  </a:lnTo>
                  <a:lnTo>
                    <a:pt x="247" y="69"/>
                  </a:lnTo>
                  <a:lnTo>
                    <a:pt x="247" y="52"/>
                  </a:lnTo>
                  <a:lnTo>
                    <a:pt x="267" y="35"/>
                  </a:lnTo>
                  <a:lnTo>
                    <a:pt x="284" y="35"/>
                  </a:lnTo>
                  <a:lnTo>
                    <a:pt x="301" y="35"/>
                  </a:lnTo>
                  <a:lnTo>
                    <a:pt x="301" y="17"/>
                  </a:lnTo>
                  <a:lnTo>
                    <a:pt x="318" y="17"/>
                  </a:lnTo>
                  <a:lnTo>
                    <a:pt x="353" y="17"/>
                  </a:lnTo>
                  <a:lnTo>
                    <a:pt x="389" y="17"/>
                  </a:lnTo>
                  <a:lnTo>
                    <a:pt x="424" y="17"/>
                  </a:lnTo>
                  <a:lnTo>
                    <a:pt x="441" y="0"/>
                  </a:lnTo>
                  <a:lnTo>
                    <a:pt x="459" y="0"/>
                  </a:lnTo>
                  <a:lnTo>
                    <a:pt x="478" y="17"/>
                  </a:lnTo>
                  <a:lnTo>
                    <a:pt x="495" y="17"/>
                  </a:lnTo>
                  <a:lnTo>
                    <a:pt x="495" y="0"/>
                  </a:lnTo>
                  <a:lnTo>
                    <a:pt x="514" y="0"/>
                  </a:lnTo>
                  <a:lnTo>
                    <a:pt x="531" y="0"/>
                  </a:lnTo>
                  <a:lnTo>
                    <a:pt x="549" y="0"/>
                  </a:lnTo>
                  <a:lnTo>
                    <a:pt x="566" y="0"/>
                  </a:lnTo>
                  <a:lnTo>
                    <a:pt x="602" y="0"/>
                  </a:lnTo>
                  <a:lnTo>
                    <a:pt x="654" y="17"/>
                  </a:lnTo>
                  <a:lnTo>
                    <a:pt x="708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1" name="Freeform 22">
              <a:extLst>
                <a:ext uri="{FF2B5EF4-FFF2-40B4-BE49-F238E27FC236}">
                  <a16:creationId xmlns:a16="http://schemas.microsoft.com/office/drawing/2014/main" id="{9FBD435D-DCAA-4162-B701-CAD2763AAD52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487613" y="2486026"/>
              <a:ext cx="139700" cy="95250"/>
            </a:xfrm>
            <a:custGeom>
              <a:avLst/>
              <a:gdLst>
                <a:gd name="T0" fmla="*/ 28738 w 175"/>
                <a:gd name="T1" fmla="*/ 7204 h 119"/>
                <a:gd name="T2" fmla="*/ 28738 w 175"/>
                <a:gd name="T3" fmla="*/ 10405 h 119"/>
                <a:gd name="T4" fmla="*/ 28738 w 175"/>
                <a:gd name="T5" fmla="*/ 13607 h 119"/>
                <a:gd name="T6" fmla="*/ 31931 w 175"/>
                <a:gd name="T7" fmla="*/ 13607 h 119"/>
                <a:gd name="T8" fmla="*/ 35125 w 175"/>
                <a:gd name="T9" fmla="*/ 13607 h 119"/>
                <a:gd name="T10" fmla="*/ 31931 w 175"/>
                <a:gd name="T11" fmla="*/ 17609 h 119"/>
                <a:gd name="T12" fmla="*/ 31931 w 175"/>
                <a:gd name="T13" fmla="*/ 20811 h 119"/>
                <a:gd name="T14" fmla="*/ 24747 w 175"/>
                <a:gd name="T15" fmla="*/ 24013 h 119"/>
                <a:gd name="T16" fmla="*/ 21554 w 175"/>
                <a:gd name="T17" fmla="*/ 24013 h 119"/>
                <a:gd name="T18" fmla="*/ 18361 w 175"/>
                <a:gd name="T19" fmla="*/ 24013 h 119"/>
                <a:gd name="T20" fmla="*/ 18361 w 175"/>
                <a:gd name="T21" fmla="*/ 20811 h 119"/>
                <a:gd name="T22" fmla="*/ 11176 w 175"/>
                <a:gd name="T23" fmla="*/ 17609 h 119"/>
                <a:gd name="T24" fmla="*/ 7185 w 175"/>
                <a:gd name="T25" fmla="*/ 13607 h 119"/>
                <a:gd name="T26" fmla="*/ 0 w 175"/>
                <a:gd name="T27" fmla="*/ 13607 h 119"/>
                <a:gd name="T28" fmla="*/ 0 w 175"/>
                <a:gd name="T29" fmla="*/ 10405 h 119"/>
                <a:gd name="T30" fmla="*/ 0 w 175"/>
                <a:gd name="T31" fmla="*/ 7204 h 119"/>
                <a:gd name="T32" fmla="*/ 3991 w 175"/>
                <a:gd name="T33" fmla="*/ 10405 h 119"/>
                <a:gd name="T34" fmla="*/ 7185 w 175"/>
                <a:gd name="T35" fmla="*/ 10405 h 119"/>
                <a:gd name="T36" fmla="*/ 11176 w 175"/>
                <a:gd name="T37" fmla="*/ 10405 h 119"/>
                <a:gd name="T38" fmla="*/ 11176 w 175"/>
                <a:gd name="T39" fmla="*/ 7204 h 119"/>
                <a:gd name="T40" fmla="*/ 11176 w 175"/>
                <a:gd name="T41" fmla="*/ 3202 h 119"/>
                <a:gd name="T42" fmla="*/ 7185 w 175"/>
                <a:gd name="T43" fmla="*/ 3202 h 119"/>
                <a:gd name="T44" fmla="*/ 7185 w 175"/>
                <a:gd name="T45" fmla="*/ 0 h 119"/>
                <a:gd name="T46" fmla="*/ 11176 w 175"/>
                <a:gd name="T47" fmla="*/ 0 h 119"/>
                <a:gd name="T48" fmla="*/ 14369 w 175"/>
                <a:gd name="T49" fmla="*/ 0 h 119"/>
                <a:gd name="T50" fmla="*/ 21554 w 175"/>
                <a:gd name="T51" fmla="*/ 0 h 119"/>
                <a:gd name="T52" fmla="*/ 24747 w 175"/>
                <a:gd name="T53" fmla="*/ 0 h 119"/>
                <a:gd name="T54" fmla="*/ 28738 w 175"/>
                <a:gd name="T55" fmla="*/ 0 h 119"/>
                <a:gd name="T56" fmla="*/ 28738 w 175"/>
                <a:gd name="T57" fmla="*/ 3202 h 119"/>
                <a:gd name="T58" fmla="*/ 24747 w 175"/>
                <a:gd name="T59" fmla="*/ 7204 h 119"/>
                <a:gd name="T60" fmla="*/ 21554 w 175"/>
                <a:gd name="T61" fmla="*/ 7204 h 119"/>
                <a:gd name="T62" fmla="*/ 24747 w 175"/>
                <a:gd name="T63" fmla="*/ 7204 h 119"/>
                <a:gd name="T64" fmla="*/ 28738 w 175"/>
                <a:gd name="T65" fmla="*/ 7204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19"/>
                <a:gd name="T101" fmla="*/ 175 w 175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19">
                  <a:moveTo>
                    <a:pt x="141" y="33"/>
                  </a:moveTo>
                  <a:lnTo>
                    <a:pt x="141" y="50"/>
                  </a:lnTo>
                  <a:lnTo>
                    <a:pt x="141" y="67"/>
                  </a:lnTo>
                  <a:lnTo>
                    <a:pt x="158" y="67"/>
                  </a:lnTo>
                  <a:lnTo>
                    <a:pt x="175" y="67"/>
                  </a:lnTo>
                  <a:lnTo>
                    <a:pt x="158" y="85"/>
                  </a:lnTo>
                  <a:lnTo>
                    <a:pt x="158" y="102"/>
                  </a:lnTo>
                  <a:lnTo>
                    <a:pt x="123" y="119"/>
                  </a:lnTo>
                  <a:lnTo>
                    <a:pt x="106" y="119"/>
                  </a:lnTo>
                  <a:lnTo>
                    <a:pt x="89" y="119"/>
                  </a:lnTo>
                  <a:lnTo>
                    <a:pt x="89" y="102"/>
                  </a:lnTo>
                  <a:lnTo>
                    <a:pt x="54" y="85"/>
                  </a:lnTo>
                  <a:lnTo>
                    <a:pt x="35" y="67"/>
                  </a:lnTo>
                  <a:lnTo>
                    <a:pt x="0" y="67"/>
                  </a:lnTo>
                  <a:lnTo>
                    <a:pt x="0" y="50"/>
                  </a:lnTo>
                  <a:lnTo>
                    <a:pt x="0" y="33"/>
                  </a:lnTo>
                  <a:lnTo>
                    <a:pt x="18" y="50"/>
                  </a:lnTo>
                  <a:lnTo>
                    <a:pt x="35" y="50"/>
                  </a:lnTo>
                  <a:lnTo>
                    <a:pt x="54" y="50"/>
                  </a:lnTo>
                  <a:lnTo>
                    <a:pt x="54" y="33"/>
                  </a:lnTo>
                  <a:lnTo>
                    <a:pt x="54" y="15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0"/>
                  </a:lnTo>
                  <a:lnTo>
                    <a:pt x="141" y="0"/>
                  </a:lnTo>
                  <a:lnTo>
                    <a:pt x="141" y="15"/>
                  </a:lnTo>
                  <a:lnTo>
                    <a:pt x="123" y="33"/>
                  </a:lnTo>
                  <a:lnTo>
                    <a:pt x="106" y="33"/>
                  </a:lnTo>
                  <a:lnTo>
                    <a:pt x="123" y="33"/>
                  </a:lnTo>
                  <a:lnTo>
                    <a:pt x="141" y="3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2" name="Freeform 23">
              <a:extLst>
                <a:ext uri="{FF2B5EF4-FFF2-40B4-BE49-F238E27FC236}">
                  <a16:creationId xmlns:a16="http://schemas.microsoft.com/office/drawing/2014/main" id="{3C759310-F9F8-43CD-8B26-105A3529BC97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57463" y="2633663"/>
              <a:ext cx="82550" cy="58738"/>
            </a:xfrm>
            <a:custGeom>
              <a:avLst/>
              <a:gdLst>
                <a:gd name="T0" fmla="*/ 17632 w 103"/>
                <a:gd name="T1" fmla="*/ 15288 h 73"/>
                <a:gd name="T2" fmla="*/ 10419 w 103"/>
                <a:gd name="T3" fmla="*/ 11265 h 73"/>
                <a:gd name="T4" fmla="*/ 4007 w 103"/>
                <a:gd name="T5" fmla="*/ 8046 h 73"/>
                <a:gd name="T6" fmla="*/ 0 w 103"/>
                <a:gd name="T7" fmla="*/ 8046 h 73"/>
                <a:gd name="T8" fmla="*/ 4007 w 103"/>
                <a:gd name="T9" fmla="*/ 8046 h 73"/>
                <a:gd name="T10" fmla="*/ 4007 w 103"/>
                <a:gd name="T11" fmla="*/ 4023 h 73"/>
                <a:gd name="T12" fmla="*/ 7213 w 103"/>
                <a:gd name="T13" fmla="*/ 0 h 73"/>
                <a:gd name="T14" fmla="*/ 14426 w 103"/>
                <a:gd name="T15" fmla="*/ 4023 h 73"/>
                <a:gd name="T16" fmla="*/ 17632 w 103"/>
                <a:gd name="T17" fmla="*/ 8046 h 73"/>
                <a:gd name="T18" fmla="*/ 20838 w 103"/>
                <a:gd name="T19" fmla="*/ 11265 h 73"/>
                <a:gd name="T20" fmla="*/ 17632 w 103"/>
                <a:gd name="T21" fmla="*/ 11265 h 73"/>
                <a:gd name="T22" fmla="*/ 17632 w 103"/>
                <a:gd name="T23" fmla="*/ 15288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73"/>
                <a:gd name="T38" fmla="*/ 103 w 103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73">
                  <a:moveTo>
                    <a:pt x="86" y="73"/>
                  </a:moveTo>
                  <a:lnTo>
                    <a:pt x="52" y="56"/>
                  </a:lnTo>
                  <a:lnTo>
                    <a:pt x="17" y="37"/>
                  </a:lnTo>
                  <a:lnTo>
                    <a:pt x="0" y="37"/>
                  </a:lnTo>
                  <a:lnTo>
                    <a:pt x="17" y="37"/>
                  </a:lnTo>
                  <a:lnTo>
                    <a:pt x="17" y="19"/>
                  </a:lnTo>
                  <a:lnTo>
                    <a:pt x="34" y="0"/>
                  </a:lnTo>
                  <a:lnTo>
                    <a:pt x="69" y="19"/>
                  </a:lnTo>
                  <a:lnTo>
                    <a:pt x="86" y="37"/>
                  </a:lnTo>
                  <a:lnTo>
                    <a:pt x="103" y="56"/>
                  </a:lnTo>
                  <a:lnTo>
                    <a:pt x="86" y="56"/>
                  </a:lnTo>
                  <a:lnTo>
                    <a:pt x="86" y="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3" name="Freeform 24">
              <a:extLst>
                <a:ext uri="{FF2B5EF4-FFF2-40B4-BE49-F238E27FC236}">
                  <a16:creationId xmlns:a16="http://schemas.microsoft.com/office/drawing/2014/main" id="{DCAB5437-34F5-4402-A552-157FD7B58FA8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627313" y="2457451"/>
              <a:ext cx="125413" cy="95250"/>
            </a:xfrm>
            <a:custGeom>
              <a:avLst/>
              <a:gdLst>
                <a:gd name="T0" fmla="*/ 30762 w 159"/>
                <a:gd name="T1" fmla="*/ 6298 h 121"/>
                <a:gd name="T2" fmla="*/ 27607 w 159"/>
                <a:gd name="T3" fmla="*/ 6298 h 121"/>
                <a:gd name="T4" fmla="*/ 24452 w 159"/>
                <a:gd name="T5" fmla="*/ 6298 h 121"/>
                <a:gd name="T6" fmla="*/ 21297 w 159"/>
                <a:gd name="T7" fmla="*/ 13382 h 121"/>
                <a:gd name="T8" fmla="*/ 21297 w 159"/>
                <a:gd name="T9" fmla="*/ 16531 h 121"/>
                <a:gd name="T10" fmla="*/ 13409 w 159"/>
                <a:gd name="T11" fmla="*/ 16531 h 121"/>
                <a:gd name="T12" fmla="*/ 10254 w 159"/>
                <a:gd name="T13" fmla="*/ 16531 h 121"/>
                <a:gd name="T14" fmla="*/ 10254 w 159"/>
                <a:gd name="T15" fmla="*/ 19680 h 121"/>
                <a:gd name="T16" fmla="*/ 10254 w 159"/>
                <a:gd name="T17" fmla="*/ 23616 h 121"/>
                <a:gd name="T18" fmla="*/ 6310 w 159"/>
                <a:gd name="T19" fmla="*/ 23616 h 121"/>
                <a:gd name="T20" fmla="*/ 3155 w 159"/>
                <a:gd name="T21" fmla="*/ 23616 h 121"/>
                <a:gd name="T22" fmla="*/ 3155 w 159"/>
                <a:gd name="T23" fmla="*/ 19680 h 121"/>
                <a:gd name="T24" fmla="*/ 3155 w 159"/>
                <a:gd name="T25" fmla="*/ 16531 h 121"/>
                <a:gd name="T26" fmla="*/ 3155 w 159"/>
                <a:gd name="T27" fmla="*/ 13382 h 121"/>
                <a:gd name="T28" fmla="*/ 0 w 159"/>
                <a:gd name="T29" fmla="*/ 6298 h 121"/>
                <a:gd name="T30" fmla="*/ 3155 w 159"/>
                <a:gd name="T31" fmla="*/ 6298 h 121"/>
                <a:gd name="T32" fmla="*/ 6310 w 159"/>
                <a:gd name="T33" fmla="*/ 6298 h 121"/>
                <a:gd name="T34" fmla="*/ 6310 w 159"/>
                <a:gd name="T35" fmla="*/ 3149 h 121"/>
                <a:gd name="T36" fmla="*/ 10254 w 159"/>
                <a:gd name="T37" fmla="*/ 3149 h 121"/>
                <a:gd name="T38" fmla="*/ 10254 w 159"/>
                <a:gd name="T39" fmla="*/ 0 h 121"/>
                <a:gd name="T40" fmla="*/ 17353 w 159"/>
                <a:gd name="T41" fmla="*/ 3149 h 121"/>
                <a:gd name="T42" fmla="*/ 21297 w 159"/>
                <a:gd name="T43" fmla="*/ 3149 h 121"/>
                <a:gd name="T44" fmla="*/ 30762 w 159"/>
                <a:gd name="T45" fmla="*/ 3149 h 121"/>
                <a:gd name="T46" fmla="*/ 30762 w 159"/>
                <a:gd name="T47" fmla="*/ 6298 h 1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9"/>
                <a:gd name="T73" fmla="*/ 0 h 121"/>
                <a:gd name="T74" fmla="*/ 159 w 159"/>
                <a:gd name="T75" fmla="*/ 121 h 12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9" h="121">
                  <a:moveTo>
                    <a:pt x="159" y="34"/>
                  </a:moveTo>
                  <a:lnTo>
                    <a:pt x="142" y="34"/>
                  </a:lnTo>
                  <a:lnTo>
                    <a:pt x="125" y="34"/>
                  </a:lnTo>
                  <a:lnTo>
                    <a:pt x="108" y="69"/>
                  </a:lnTo>
                  <a:lnTo>
                    <a:pt x="108" y="86"/>
                  </a:lnTo>
                  <a:lnTo>
                    <a:pt x="71" y="86"/>
                  </a:lnTo>
                  <a:lnTo>
                    <a:pt x="54" y="86"/>
                  </a:lnTo>
                  <a:lnTo>
                    <a:pt x="54" y="103"/>
                  </a:lnTo>
                  <a:lnTo>
                    <a:pt x="54" y="121"/>
                  </a:lnTo>
                  <a:lnTo>
                    <a:pt x="35" y="121"/>
                  </a:lnTo>
                  <a:lnTo>
                    <a:pt x="17" y="121"/>
                  </a:lnTo>
                  <a:lnTo>
                    <a:pt x="17" y="103"/>
                  </a:lnTo>
                  <a:lnTo>
                    <a:pt x="17" y="86"/>
                  </a:lnTo>
                  <a:lnTo>
                    <a:pt x="17" y="69"/>
                  </a:lnTo>
                  <a:lnTo>
                    <a:pt x="0" y="34"/>
                  </a:lnTo>
                  <a:lnTo>
                    <a:pt x="17" y="34"/>
                  </a:lnTo>
                  <a:lnTo>
                    <a:pt x="35" y="34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88" y="17"/>
                  </a:lnTo>
                  <a:lnTo>
                    <a:pt x="108" y="17"/>
                  </a:lnTo>
                  <a:lnTo>
                    <a:pt x="159" y="17"/>
                  </a:lnTo>
                  <a:lnTo>
                    <a:pt x="159" y="3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4" name="Freeform 25">
              <a:extLst>
                <a:ext uri="{FF2B5EF4-FFF2-40B4-BE49-F238E27FC236}">
                  <a16:creationId xmlns:a16="http://schemas.microsoft.com/office/drawing/2014/main" id="{280042EC-12C0-4CEA-8AC1-E11D52F0ABF3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046413" y="2703513"/>
              <a:ext cx="41275" cy="28575"/>
            </a:xfrm>
            <a:custGeom>
              <a:avLst/>
              <a:gdLst>
                <a:gd name="T0" fmla="*/ 10319 w 52"/>
                <a:gd name="T1" fmla="*/ 3969 h 36"/>
                <a:gd name="T2" fmla="*/ 3969 w 52"/>
                <a:gd name="T3" fmla="*/ 7144 h 36"/>
                <a:gd name="T4" fmla="*/ 0 w 52"/>
                <a:gd name="T5" fmla="*/ 7144 h 36"/>
                <a:gd name="T6" fmla="*/ 0 w 52"/>
                <a:gd name="T7" fmla="*/ 3969 h 36"/>
                <a:gd name="T8" fmla="*/ 0 w 52"/>
                <a:gd name="T9" fmla="*/ 0 h 36"/>
                <a:gd name="T10" fmla="*/ 7144 w 52"/>
                <a:gd name="T11" fmla="*/ 0 h 36"/>
                <a:gd name="T12" fmla="*/ 10319 w 52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6"/>
                <a:gd name="T23" fmla="*/ 52 w 52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6">
                  <a:moveTo>
                    <a:pt x="52" y="19"/>
                  </a:moveTo>
                  <a:lnTo>
                    <a:pt x="17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52" y="1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5" name="Freeform 26">
              <a:extLst>
                <a:ext uri="{FF2B5EF4-FFF2-40B4-BE49-F238E27FC236}">
                  <a16:creationId xmlns:a16="http://schemas.microsoft.com/office/drawing/2014/main" id="{159FF61F-7E65-471B-99CF-D66FBBB43AFA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947988" y="2486026"/>
              <a:ext cx="112713" cy="39688"/>
            </a:xfrm>
            <a:custGeom>
              <a:avLst/>
              <a:gdLst>
                <a:gd name="T0" fmla="*/ 10319 w 142"/>
                <a:gd name="T1" fmla="*/ 10319 h 50"/>
                <a:gd name="T2" fmla="*/ 7144 w 142"/>
                <a:gd name="T3" fmla="*/ 10319 h 50"/>
                <a:gd name="T4" fmla="*/ 7144 w 142"/>
                <a:gd name="T5" fmla="*/ 7144 h 50"/>
                <a:gd name="T6" fmla="*/ 3175 w 142"/>
                <a:gd name="T7" fmla="*/ 2381 h 50"/>
                <a:gd name="T8" fmla="*/ 0 w 142"/>
                <a:gd name="T9" fmla="*/ 2381 h 50"/>
                <a:gd name="T10" fmla="*/ 0 w 142"/>
                <a:gd name="T11" fmla="*/ 0 h 50"/>
                <a:gd name="T12" fmla="*/ 3175 w 142"/>
                <a:gd name="T13" fmla="*/ 0 h 50"/>
                <a:gd name="T14" fmla="*/ 10319 w 142"/>
                <a:gd name="T15" fmla="*/ 0 h 50"/>
                <a:gd name="T16" fmla="*/ 14288 w 142"/>
                <a:gd name="T17" fmla="*/ 0 h 50"/>
                <a:gd name="T18" fmla="*/ 21431 w 142"/>
                <a:gd name="T19" fmla="*/ 0 h 50"/>
                <a:gd name="T20" fmla="*/ 24606 w 142"/>
                <a:gd name="T21" fmla="*/ 2381 h 50"/>
                <a:gd name="T22" fmla="*/ 28575 w 142"/>
                <a:gd name="T23" fmla="*/ 7144 h 50"/>
                <a:gd name="T24" fmla="*/ 24606 w 142"/>
                <a:gd name="T25" fmla="*/ 7144 h 50"/>
                <a:gd name="T26" fmla="*/ 24606 w 142"/>
                <a:gd name="T27" fmla="*/ 10319 h 50"/>
                <a:gd name="T28" fmla="*/ 21431 w 142"/>
                <a:gd name="T29" fmla="*/ 10319 h 50"/>
                <a:gd name="T30" fmla="*/ 17463 w 142"/>
                <a:gd name="T31" fmla="*/ 7144 h 50"/>
                <a:gd name="T32" fmla="*/ 17463 w 142"/>
                <a:gd name="T33" fmla="*/ 10319 h 50"/>
                <a:gd name="T34" fmla="*/ 14288 w 142"/>
                <a:gd name="T35" fmla="*/ 10319 h 50"/>
                <a:gd name="T36" fmla="*/ 10319 w 142"/>
                <a:gd name="T37" fmla="*/ 10319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50"/>
                <a:gd name="T59" fmla="*/ 142 w 142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50">
                  <a:moveTo>
                    <a:pt x="54" y="50"/>
                  </a:moveTo>
                  <a:lnTo>
                    <a:pt x="37" y="50"/>
                  </a:lnTo>
                  <a:lnTo>
                    <a:pt x="37" y="33"/>
                  </a:lnTo>
                  <a:lnTo>
                    <a:pt x="19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8" y="0"/>
                  </a:lnTo>
                  <a:lnTo>
                    <a:pt x="125" y="15"/>
                  </a:lnTo>
                  <a:lnTo>
                    <a:pt x="142" y="33"/>
                  </a:lnTo>
                  <a:lnTo>
                    <a:pt x="125" y="33"/>
                  </a:lnTo>
                  <a:lnTo>
                    <a:pt x="125" y="50"/>
                  </a:lnTo>
                  <a:lnTo>
                    <a:pt x="108" y="50"/>
                  </a:lnTo>
                  <a:lnTo>
                    <a:pt x="90" y="33"/>
                  </a:lnTo>
                  <a:lnTo>
                    <a:pt x="90" y="50"/>
                  </a:lnTo>
                  <a:lnTo>
                    <a:pt x="71" y="50"/>
                  </a:lnTo>
                  <a:lnTo>
                    <a:pt x="54" y="5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6" name="Freeform 27">
              <a:extLst>
                <a:ext uri="{FF2B5EF4-FFF2-40B4-BE49-F238E27FC236}">
                  <a16:creationId xmlns:a16="http://schemas.microsoft.com/office/drawing/2014/main" id="{96C0AE0B-D7B4-4526-B201-D06E1E76EB97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992438" y="2662238"/>
              <a:ext cx="11113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7" name="Freeform 28">
              <a:extLst>
                <a:ext uri="{FF2B5EF4-FFF2-40B4-BE49-F238E27FC236}">
                  <a16:creationId xmlns:a16="http://schemas.microsoft.com/office/drawing/2014/main" id="{658B253B-231A-46CE-893F-7EEC89DB1E60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752725" y="2486026"/>
              <a:ext cx="631825" cy="425450"/>
            </a:xfrm>
            <a:custGeom>
              <a:avLst/>
              <a:gdLst>
                <a:gd name="T0" fmla="*/ 143849 w 795"/>
                <a:gd name="T1" fmla="*/ 78728 h 535"/>
                <a:gd name="T2" fmla="*/ 127160 w 795"/>
                <a:gd name="T3" fmla="*/ 69185 h 535"/>
                <a:gd name="T4" fmla="*/ 127160 w 795"/>
                <a:gd name="T5" fmla="*/ 72366 h 535"/>
                <a:gd name="T6" fmla="*/ 127160 w 795"/>
                <a:gd name="T7" fmla="*/ 75547 h 535"/>
                <a:gd name="T8" fmla="*/ 133518 w 795"/>
                <a:gd name="T9" fmla="*/ 78728 h 535"/>
                <a:gd name="T10" fmla="*/ 140670 w 795"/>
                <a:gd name="T11" fmla="*/ 82704 h 535"/>
                <a:gd name="T12" fmla="*/ 140670 w 795"/>
                <a:gd name="T13" fmla="*/ 93042 h 535"/>
                <a:gd name="T14" fmla="*/ 133518 w 795"/>
                <a:gd name="T15" fmla="*/ 96223 h 535"/>
                <a:gd name="T16" fmla="*/ 123186 w 795"/>
                <a:gd name="T17" fmla="*/ 96223 h 535"/>
                <a:gd name="T18" fmla="*/ 130339 w 795"/>
                <a:gd name="T19" fmla="*/ 106561 h 535"/>
                <a:gd name="T20" fmla="*/ 120007 w 795"/>
                <a:gd name="T21" fmla="*/ 100199 h 535"/>
                <a:gd name="T22" fmla="*/ 102523 w 795"/>
                <a:gd name="T23" fmla="*/ 96223 h 535"/>
                <a:gd name="T24" fmla="*/ 92191 w 795"/>
                <a:gd name="T25" fmla="*/ 85885 h 535"/>
                <a:gd name="T26" fmla="*/ 81064 w 795"/>
                <a:gd name="T27" fmla="*/ 82704 h 535"/>
                <a:gd name="T28" fmla="*/ 66759 w 795"/>
                <a:gd name="T29" fmla="*/ 82704 h 535"/>
                <a:gd name="T30" fmla="*/ 73912 w 795"/>
                <a:gd name="T31" fmla="*/ 78728 h 535"/>
                <a:gd name="T32" fmla="*/ 85038 w 795"/>
                <a:gd name="T33" fmla="*/ 78728 h 535"/>
                <a:gd name="T34" fmla="*/ 88217 w 795"/>
                <a:gd name="T35" fmla="*/ 75547 h 535"/>
                <a:gd name="T36" fmla="*/ 88217 w 795"/>
                <a:gd name="T37" fmla="*/ 69185 h 535"/>
                <a:gd name="T38" fmla="*/ 95370 w 795"/>
                <a:gd name="T39" fmla="*/ 65209 h 535"/>
                <a:gd name="T40" fmla="*/ 88217 w 795"/>
                <a:gd name="T41" fmla="*/ 48509 h 535"/>
                <a:gd name="T42" fmla="*/ 77885 w 795"/>
                <a:gd name="T43" fmla="*/ 48509 h 535"/>
                <a:gd name="T44" fmla="*/ 77885 w 795"/>
                <a:gd name="T45" fmla="*/ 45328 h 535"/>
                <a:gd name="T46" fmla="*/ 63580 w 795"/>
                <a:gd name="T47" fmla="*/ 34195 h 535"/>
                <a:gd name="T48" fmla="*/ 57222 w 795"/>
                <a:gd name="T49" fmla="*/ 41352 h 535"/>
                <a:gd name="T50" fmla="*/ 46095 w 795"/>
                <a:gd name="T51" fmla="*/ 34195 h 535"/>
                <a:gd name="T52" fmla="*/ 25432 w 795"/>
                <a:gd name="T53" fmla="*/ 34195 h 535"/>
                <a:gd name="T54" fmla="*/ 15100 w 795"/>
                <a:gd name="T55" fmla="*/ 34195 h 535"/>
                <a:gd name="T56" fmla="*/ 3974 w 795"/>
                <a:gd name="T57" fmla="*/ 27038 h 535"/>
                <a:gd name="T58" fmla="*/ 15100 w 795"/>
                <a:gd name="T59" fmla="*/ 27038 h 535"/>
                <a:gd name="T60" fmla="*/ 3974 w 795"/>
                <a:gd name="T61" fmla="*/ 23857 h 535"/>
                <a:gd name="T62" fmla="*/ 3974 w 795"/>
                <a:gd name="T63" fmla="*/ 13519 h 535"/>
                <a:gd name="T64" fmla="*/ 11126 w 795"/>
                <a:gd name="T65" fmla="*/ 0 h 535"/>
                <a:gd name="T66" fmla="*/ 25432 w 795"/>
                <a:gd name="T67" fmla="*/ 0 h 535"/>
                <a:gd name="T68" fmla="*/ 18279 w 795"/>
                <a:gd name="T69" fmla="*/ 10338 h 535"/>
                <a:gd name="T70" fmla="*/ 21458 w 795"/>
                <a:gd name="T71" fmla="*/ 17495 h 535"/>
                <a:gd name="T72" fmla="*/ 25432 w 795"/>
                <a:gd name="T73" fmla="*/ 10338 h 535"/>
                <a:gd name="T74" fmla="*/ 46095 w 795"/>
                <a:gd name="T75" fmla="*/ 0 h 535"/>
                <a:gd name="T76" fmla="*/ 53248 w 795"/>
                <a:gd name="T77" fmla="*/ 13519 h 535"/>
                <a:gd name="T78" fmla="*/ 63580 w 795"/>
                <a:gd name="T79" fmla="*/ 13519 h 535"/>
                <a:gd name="T80" fmla="*/ 73912 w 795"/>
                <a:gd name="T81" fmla="*/ 10338 h 535"/>
                <a:gd name="T82" fmla="*/ 85038 w 795"/>
                <a:gd name="T83" fmla="*/ 17495 h 535"/>
                <a:gd name="T84" fmla="*/ 98549 w 795"/>
                <a:gd name="T85" fmla="*/ 23857 h 535"/>
                <a:gd name="T86" fmla="*/ 109675 w 795"/>
                <a:gd name="T87" fmla="*/ 27038 h 535"/>
                <a:gd name="T88" fmla="*/ 120007 w 795"/>
                <a:gd name="T89" fmla="*/ 34195 h 535"/>
                <a:gd name="T90" fmla="*/ 130339 w 795"/>
                <a:gd name="T91" fmla="*/ 37376 h 535"/>
                <a:gd name="T92" fmla="*/ 120007 w 795"/>
                <a:gd name="T93" fmla="*/ 41352 h 535"/>
                <a:gd name="T94" fmla="*/ 130339 w 795"/>
                <a:gd name="T95" fmla="*/ 41352 h 535"/>
                <a:gd name="T96" fmla="*/ 123186 w 795"/>
                <a:gd name="T97" fmla="*/ 48509 h 535"/>
                <a:gd name="T98" fmla="*/ 130339 w 795"/>
                <a:gd name="T99" fmla="*/ 51690 h 535"/>
                <a:gd name="T100" fmla="*/ 140670 w 795"/>
                <a:gd name="T101" fmla="*/ 58847 h 535"/>
                <a:gd name="T102" fmla="*/ 147823 w 795"/>
                <a:gd name="T103" fmla="*/ 62028 h 535"/>
                <a:gd name="T104" fmla="*/ 154976 w 795"/>
                <a:gd name="T105" fmla="*/ 69185 h 535"/>
                <a:gd name="T106" fmla="*/ 154976 w 795"/>
                <a:gd name="T107" fmla="*/ 72366 h 535"/>
                <a:gd name="T108" fmla="*/ 147823 w 795"/>
                <a:gd name="T109" fmla="*/ 75547 h 5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95"/>
                <a:gd name="T166" fmla="*/ 0 h 535"/>
                <a:gd name="T167" fmla="*/ 795 w 795"/>
                <a:gd name="T168" fmla="*/ 535 h 5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95" h="535">
                  <a:moveTo>
                    <a:pt x="741" y="378"/>
                  </a:moveTo>
                  <a:lnTo>
                    <a:pt x="741" y="395"/>
                  </a:lnTo>
                  <a:lnTo>
                    <a:pt x="724" y="395"/>
                  </a:lnTo>
                  <a:lnTo>
                    <a:pt x="690" y="395"/>
                  </a:lnTo>
                  <a:lnTo>
                    <a:pt x="672" y="361"/>
                  </a:lnTo>
                  <a:lnTo>
                    <a:pt x="638" y="346"/>
                  </a:lnTo>
                  <a:lnTo>
                    <a:pt x="619" y="346"/>
                  </a:lnTo>
                  <a:lnTo>
                    <a:pt x="619" y="361"/>
                  </a:lnTo>
                  <a:lnTo>
                    <a:pt x="638" y="361"/>
                  </a:lnTo>
                  <a:lnTo>
                    <a:pt x="619" y="361"/>
                  </a:lnTo>
                  <a:lnTo>
                    <a:pt x="619" y="378"/>
                  </a:lnTo>
                  <a:lnTo>
                    <a:pt x="638" y="378"/>
                  </a:lnTo>
                  <a:lnTo>
                    <a:pt x="638" y="395"/>
                  </a:lnTo>
                  <a:lnTo>
                    <a:pt x="655" y="395"/>
                  </a:lnTo>
                  <a:lnTo>
                    <a:pt x="672" y="395"/>
                  </a:lnTo>
                  <a:lnTo>
                    <a:pt x="672" y="413"/>
                  </a:lnTo>
                  <a:lnTo>
                    <a:pt x="690" y="413"/>
                  </a:lnTo>
                  <a:lnTo>
                    <a:pt x="707" y="413"/>
                  </a:lnTo>
                  <a:lnTo>
                    <a:pt x="707" y="430"/>
                  </a:lnTo>
                  <a:lnTo>
                    <a:pt x="707" y="447"/>
                  </a:lnTo>
                  <a:lnTo>
                    <a:pt x="707" y="466"/>
                  </a:lnTo>
                  <a:lnTo>
                    <a:pt x="707" y="484"/>
                  </a:lnTo>
                  <a:lnTo>
                    <a:pt x="707" y="501"/>
                  </a:lnTo>
                  <a:lnTo>
                    <a:pt x="672" y="484"/>
                  </a:lnTo>
                  <a:lnTo>
                    <a:pt x="638" y="466"/>
                  </a:lnTo>
                  <a:lnTo>
                    <a:pt x="601" y="447"/>
                  </a:lnTo>
                  <a:lnTo>
                    <a:pt x="619" y="484"/>
                  </a:lnTo>
                  <a:lnTo>
                    <a:pt x="655" y="501"/>
                  </a:lnTo>
                  <a:lnTo>
                    <a:pt x="655" y="518"/>
                  </a:lnTo>
                  <a:lnTo>
                    <a:pt x="655" y="535"/>
                  </a:lnTo>
                  <a:lnTo>
                    <a:pt x="655" y="518"/>
                  </a:lnTo>
                  <a:lnTo>
                    <a:pt x="619" y="501"/>
                  </a:lnTo>
                  <a:lnTo>
                    <a:pt x="601" y="501"/>
                  </a:lnTo>
                  <a:lnTo>
                    <a:pt x="584" y="501"/>
                  </a:lnTo>
                  <a:lnTo>
                    <a:pt x="532" y="501"/>
                  </a:lnTo>
                  <a:lnTo>
                    <a:pt x="515" y="484"/>
                  </a:lnTo>
                  <a:lnTo>
                    <a:pt x="515" y="447"/>
                  </a:lnTo>
                  <a:lnTo>
                    <a:pt x="478" y="447"/>
                  </a:lnTo>
                  <a:lnTo>
                    <a:pt x="461" y="430"/>
                  </a:lnTo>
                  <a:lnTo>
                    <a:pt x="425" y="413"/>
                  </a:lnTo>
                  <a:lnTo>
                    <a:pt x="425" y="430"/>
                  </a:lnTo>
                  <a:lnTo>
                    <a:pt x="407" y="413"/>
                  </a:lnTo>
                  <a:lnTo>
                    <a:pt x="390" y="413"/>
                  </a:lnTo>
                  <a:lnTo>
                    <a:pt x="371" y="430"/>
                  </a:lnTo>
                  <a:lnTo>
                    <a:pt x="336" y="413"/>
                  </a:lnTo>
                  <a:lnTo>
                    <a:pt x="336" y="395"/>
                  </a:lnTo>
                  <a:lnTo>
                    <a:pt x="354" y="395"/>
                  </a:lnTo>
                  <a:lnTo>
                    <a:pt x="371" y="395"/>
                  </a:lnTo>
                  <a:lnTo>
                    <a:pt x="390" y="395"/>
                  </a:lnTo>
                  <a:lnTo>
                    <a:pt x="407" y="395"/>
                  </a:lnTo>
                  <a:lnTo>
                    <a:pt x="425" y="395"/>
                  </a:lnTo>
                  <a:lnTo>
                    <a:pt x="442" y="395"/>
                  </a:lnTo>
                  <a:lnTo>
                    <a:pt x="461" y="378"/>
                  </a:lnTo>
                  <a:lnTo>
                    <a:pt x="442" y="378"/>
                  </a:lnTo>
                  <a:lnTo>
                    <a:pt x="442" y="361"/>
                  </a:lnTo>
                  <a:lnTo>
                    <a:pt x="425" y="361"/>
                  </a:lnTo>
                  <a:lnTo>
                    <a:pt x="442" y="346"/>
                  </a:lnTo>
                  <a:lnTo>
                    <a:pt x="461" y="346"/>
                  </a:lnTo>
                  <a:lnTo>
                    <a:pt x="478" y="346"/>
                  </a:lnTo>
                  <a:lnTo>
                    <a:pt x="478" y="328"/>
                  </a:lnTo>
                  <a:lnTo>
                    <a:pt x="478" y="311"/>
                  </a:lnTo>
                  <a:lnTo>
                    <a:pt x="478" y="276"/>
                  </a:lnTo>
                  <a:lnTo>
                    <a:pt x="442" y="242"/>
                  </a:lnTo>
                  <a:lnTo>
                    <a:pt x="407" y="225"/>
                  </a:lnTo>
                  <a:lnTo>
                    <a:pt x="407" y="242"/>
                  </a:lnTo>
                  <a:lnTo>
                    <a:pt x="390" y="242"/>
                  </a:lnTo>
                  <a:lnTo>
                    <a:pt x="371" y="242"/>
                  </a:lnTo>
                  <a:lnTo>
                    <a:pt x="371" y="225"/>
                  </a:lnTo>
                  <a:lnTo>
                    <a:pt x="390" y="225"/>
                  </a:lnTo>
                  <a:lnTo>
                    <a:pt x="371" y="205"/>
                  </a:lnTo>
                  <a:lnTo>
                    <a:pt x="354" y="171"/>
                  </a:lnTo>
                  <a:lnTo>
                    <a:pt x="319" y="171"/>
                  </a:lnTo>
                  <a:lnTo>
                    <a:pt x="302" y="171"/>
                  </a:lnTo>
                  <a:lnTo>
                    <a:pt x="302" y="188"/>
                  </a:lnTo>
                  <a:lnTo>
                    <a:pt x="285" y="205"/>
                  </a:lnTo>
                  <a:lnTo>
                    <a:pt x="267" y="205"/>
                  </a:lnTo>
                  <a:lnTo>
                    <a:pt x="267" y="188"/>
                  </a:lnTo>
                  <a:lnTo>
                    <a:pt x="231" y="171"/>
                  </a:lnTo>
                  <a:lnTo>
                    <a:pt x="179" y="188"/>
                  </a:lnTo>
                  <a:lnTo>
                    <a:pt x="125" y="188"/>
                  </a:lnTo>
                  <a:lnTo>
                    <a:pt x="125" y="171"/>
                  </a:lnTo>
                  <a:lnTo>
                    <a:pt x="108" y="171"/>
                  </a:lnTo>
                  <a:lnTo>
                    <a:pt x="91" y="171"/>
                  </a:lnTo>
                  <a:lnTo>
                    <a:pt x="73" y="171"/>
                  </a:lnTo>
                  <a:lnTo>
                    <a:pt x="56" y="171"/>
                  </a:lnTo>
                  <a:lnTo>
                    <a:pt x="39" y="154"/>
                  </a:lnTo>
                  <a:lnTo>
                    <a:pt x="20" y="136"/>
                  </a:lnTo>
                  <a:lnTo>
                    <a:pt x="39" y="136"/>
                  </a:lnTo>
                  <a:lnTo>
                    <a:pt x="56" y="136"/>
                  </a:lnTo>
                  <a:lnTo>
                    <a:pt x="73" y="136"/>
                  </a:lnTo>
                  <a:lnTo>
                    <a:pt x="73" y="119"/>
                  </a:lnTo>
                  <a:lnTo>
                    <a:pt x="56" y="119"/>
                  </a:lnTo>
                  <a:lnTo>
                    <a:pt x="20" y="119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20" y="67"/>
                  </a:lnTo>
                  <a:lnTo>
                    <a:pt x="20" y="50"/>
                  </a:lnTo>
                  <a:lnTo>
                    <a:pt x="20" y="33"/>
                  </a:lnTo>
                  <a:lnTo>
                    <a:pt x="56" y="0"/>
                  </a:lnTo>
                  <a:lnTo>
                    <a:pt x="7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15"/>
                  </a:lnTo>
                  <a:lnTo>
                    <a:pt x="108" y="33"/>
                  </a:lnTo>
                  <a:lnTo>
                    <a:pt x="91" y="50"/>
                  </a:lnTo>
                  <a:lnTo>
                    <a:pt x="91" y="67"/>
                  </a:lnTo>
                  <a:lnTo>
                    <a:pt x="108" y="67"/>
                  </a:lnTo>
                  <a:lnTo>
                    <a:pt x="108" y="85"/>
                  </a:lnTo>
                  <a:lnTo>
                    <a:pt x="125" y="85"/>
                  </a:lnTo>
                  <a:lnTo>
                    <a:pt x="125" y="67"/>
                  </a:lnTo>
                  <a:lnTo>
                    <a:pt x="125" y="50"/>
                  </a:lnTo>
                  <a:lnTo>
                    <a:pt x="143" y="15"/>
                  </a:lnTo>
                  <a:lnTo>
                    <a:pt x="196" y="0"/>
                  </a:lnTo>
                  <a:lnTo>
                    <a:pt x="231" y="0"/>
                  </a:lnTo>
                  <a:lnTo>
                    <a:pt x="248" y="0"/>
                  </a:lnTo>
                  <a:lnTo>
                    <a:pt x="248" y="33"/>
                  </a:lnTo>
                  <a:lnTo>
                    <a:pt x="267" y="67"/>
                  </a:lnTo>
                  <a:lnTo>
                    <a:pt x="285" y="67"/>
                  </a:lnTo>
                  <a:lnTo>
                    <a:pt x="302" y="67"/>
                  </a:lnTo>
                  <a:lnTo>
                    <a:pt x="319" y="67"/>
                  </a:lnTo>
                  <a:lnTo>
                    <a:pt x="336" y="67"/>
                  </a:lnTo>
                  <a:lnTo>
                    <a:pt x="354" y="50"/>
                  </a:lnTo>
                  <a:lnTo>
                    <a:pt x="371" y="50"/>
                  </a:lnTo>
                  <a:lnTo>
                    <a:pt x="390" y="67"/>
                  </a:lnTo>
                  <a:lnTo>
                    <a:pt x="425" y="67"/>
                  </a:lnTo>
                  <a:lnTo>
                    <a:pt x="425" y="85"/>
                  </a:lnTo>
                  <a:lnTo>
                    <a:pt x="442" y="102"/>
                  </a:lnTo>
                  <a:lnTo>
                    <a:pt x="478" y="119"/>
                  </a:lnTo>
                  <a:lnTo>
                    <a:pt x="496" y="119"/>
                  </a:lnTo>
                  <a:lnTo>
                    <a:pt x="515" y="119"/>
                  </a:lnTo>
                  <a:lnTo>
                    <a:pt x="532" y="119"/>
                  </a:lnTo>
                  <a:lnTo>
                    <a:pt x="549" y="136"/>
                  </a:lnTo>
                  <a:lnTo>
                    <a:pt x="584" y="154"/>
                  </a:lnTo>
                  <a:lnTo>
                    <a:pt x="601" y="154"/>
                  </a:lnTo>
                  <a:lnTo>
                    <a:pt x="601" y="171"/>
                  </a:lnTo>
                  <a:lnTo>
                    <a:pt x="619" y="171"/>
                  </a:lnTo>
                  <a:lnTo>
                    <a:pt x="638" y="171"/>
                  </a:lnTo>
                  <a:lnTo>
                    <a:pt x="655" y="188"/>
                  </a:lnTo>
                  <a:lnTo>
                    <a:pt x="638" y="188"/>
                  </a:lnTo>
                  <a:lnTo>
                    <a:pt x="619" y="205"/>
                  </a:lnTo>
                  <a:lnTo>
                    <a:pt x="601" y="205"/>
                  </a:lnTo>
                  <a:lnTo>
                    <a:pt x="619" y="205"/>
                  </a:lnTo>
                  <a:lnTo>
                    <a:pt x="638" y="205"/>
                  </a:lnTo>
                  <a:lnTo>
                    <a:pt x="655" y="205"/>
                  </a:lnTo>
                  <a:lnTo>
                    <a:pt x="655" y="225"/>
                  </a:lnTo>
                  <a:lnTo>
                    <a:pt x="638" y="225"/>
                  </a:lnTo>
                  <a:lnTo>
                    <a:pt x="619" y="242"/>
                  </a:lnTo>
                  <a:lnTo>
                    <a:pt x="638" y="242"/>
                  </a:lnTo>
                  <a:lnTo>
                    <a:pt x="655" y="242"/>
                  </a:lnTo>
                  <a:lnTo>
                    <a:pt x="655" y="259"/>
                  </a:lnTo>
                  <a:lnTo>
                    <a:pt x="672" y="276"/>
                  </a:lnTo>
                  <a:lnTo>
                    <a:pt x="690" y="294"/>
                  </a:lnTo>
                  <a:lnTo>
                    <a:pt x="707" y="294"/>
                  </a:lnTo>
                  <a:lnTo>
                    <a:pt x="707" y="311"/>
                  </a:lnTo>
                  <a:lnTo>
                    <a:pt x="724" y="311"/>
                  </a:lnTo>
                  <a:lnTo>
                    <a:pt x="741" y="311"/>
                  </a:lnTo>
                  <a:lnTo>
                    <a:pt x="761" y="328"/>
                  </a:lnTo>
                  <a:lnTo>
                    <a:pt x="778" y="328"/>
                  </a:lnTo>
                  <a:lnTo>
                    <a:pt x="778" y="346"/>
                  </a:lnTo>
                  <a:lnTo>
                    <a:pt x="795" y="346"/>
                  </a:lnTo>
                  <a:lnTo>
                    <a:pt x="778" y="346"/>
                  </a:lnTo>
                  <a:lnTo>
                    <a:pt x="778" y="361"/>
                  </a:lnTo>
                  <a:lnTo>
                    <a:pt x="778" y="378"/>
                  </a:lnTo>
                  <a:lnTo>
                    <a:pt x="761" y="378"/>
                  </a:lnTo>
                  <a:lnTo>
                    <a:pt x="741" y="37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8" name="Freeform 29">
              <a:extLst>
                <a:ext uri="{FF2B5EF4-FFF2-40B4-BE49-F238E27FC236}">
                  <a16:creationId xmlns:a16="http://schemas.microsoft.com/office/drawing/2014/main" id="{0CB6F61D-2EA0-4CC6-9FC8-BE30EA7AFA78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130550" y="2005013"/>
              <a:ext cx="1284288" cy="958850"/>
            </a:xfrm>
            <a:custGeom>
              <a:avLst/>
              <a:gdLst>
                <a:gd name="T0" fmla="*/ 119063 w 1618"/>
                <a:gd name="T1" fmla="*/ 153860 h 1209"/>
                <a:gd name="T2" fmla="*/ 104775 w 1618"/>
                <a:gd name="T3" fmla="*/ 150688 h 1209"/>
                <a:gd name="T4" fmla="*/ 104775 w 1618"/>
                <a:gd name="T5" fmla="*/ 140378 h 1209"/>
                <a:gd name="T6" fmla="*/ 90488 w 1618"/>
                <a:gd name="T7" fmla="*/ 140378 h 1209"/>
                <a:gd name="T8" fmla="*/ 90488 w 1618"/>
                <a:gd name="T9" fmla="*/ 126102 h 1209"/>
                <a:gd name="T10" fmla="*/ 69850 w 1618"/>
                <a:gd name="T11" fmla="*/ 99137 h 1209"/>
                <a:gd name="T12" fmla="*/ 41275 w 1618"/>
                <a:gd name="T13" fmla="*/ 95171 h 1209"/>
                <a:gd name="T14" fmla="*/ 31750 w 1618"/>
                <a:gd name="T15" fmla="*/ 95171 h 1209"/>
                <a:gd name="T16" fmla="*/ 23813 w 1618"/>
                <a:gd name="T17" fmla="*/ 88826 h 1209"/>
                <a:gd name="T18" fmla="*/ 10319 w 1618"/>
                <a:gd name="T19" fmla="*/ 85654 h 1209"/>
                <a:gd name="T20" fmla="*/ 23813 w 1618"/>
                <a:gd name="T21" fmla="*/ 81689 h 1209"/>
                <a:gd name="T22" fmla="*/ 31750 w 1618"/>
                <a:gd name="T23" fmla="*/ 75344 h 1209"/>
                <a:gd name="T24" fmla="*/ 7144 w 1618"/>
                <a:gd name="T25" fmla="*/ 75344 h 1209"/>
                <a:gd name="T26" fmla="*/ 14288 w 1618"/>
                <a:gd name="T27" fmla="*/ 65034 h 1209"/>
                <a:gd name="T28" fmla="*/ 34925 w 1618"/>
                <a:gd name="T29" fmla="*/ 57896 h 1209"/>
                <a:gd name="T30" fmla="*/ 27781 w 1618"/>
                <a:gd name="T31" fmla="*/ 44413 h 1209"/>
                <a:gd name="T32" fmla="*/ 52388 w 1618"/>
                <a:gd name="T33" fmla="*/ 30138 h 1209"/>
                <a:gd name="T34" fmla="*/ 69850 w 1618"/>
                <a:gd name="T35" fmla="*/ 23793 h 1209"/>
                <a:gd name="T36" fmla="*/ 94456 w 1618"/>
                <a:gd name="T37" fmla="*/ 16655 h 1209"/>
                <a:gd name="T38" fmla="*/ 104775 w 1618"/>
                <a:gd name="T39" fmla="*/ 19827 h 1209"/>
                <a:gd name="T40" fmla="*/ 129381 w 1618"/>
                <a:gd name="T41" fmla="*/ 16655 h 1209"/>
                <a:gd name="T42" fmla="*/ 132556 w 1618"/>
                <a:gd name="T43" fmla="*/ 16655 h 1209"/>
                <a:gd name="T44" fmla="*/ 139700 w 1618"/>
                <a:gd name="T45" fmla="*/ 6345 h 1209"/>
                <a:gd name="T46" fmla="*/ 163513 w 1618"/>
                <a:gd name="T47" fmla="*/ 6345 h 1209"/>
                <a:gd name="T48" fmla="*/ 191294 w 1618"/>
                <a:gd name="T49" fmla="*/ 0 h 1209"/>
                <a:gd name="T50" fmla="*/ 237331 w 1618"/>
                <a:gd name="T51" fmla="*/ 3172 h 1209"/>
                <a:gd name="T52" fmla="*/ 272256 w 1618"/>
                <a:gd name="T53" fmla="*/ 13483 h 1209"/>
                <a:gd name="T54" fmla="*/ 234156 w 1618"/>
                <a:gd name="T55" fmla="*/ 19827 h 1209"/>
                <a:gd name="T56" fmla="*/ 241300 w 1618"/>
                <a:gd name="T57" fmla="*/ 19827 h 1209"/>
                <a:gd name="T58" fmla="*/ 251619 w 1618"/>
                <a:gd name="T59" fmla="*/ 30138 h 1209"/>
                <a:gd name="T60" fmla="*/ 272256 w 1618"/>
                <a:gd name="T61" fmla="*/ 26965 h 1209"/>
                <a:gd name="T62" fmla="*/ 272256 w 1618"/>
                <a:gd name="T63" fmla="*/ 30138 h 1209"/>
                <a:gd name="T64" fmla="*/ 293688 w 1618"/>
                <a:gd name="T65" fmla="*/ 26965 h 1209"/>
                <a:gd name="T66" fmla="*/ 311150 w 1618"/>
                <a:gd name="T67" fmla="*/ 23793 h 1209"/>
                <a:gd name="T68" fmla="*/ 321469 w 1618"/>
                <a:gd name="T69" fmla="*/ 30138 h 1209"/>
                <a:gd name="T70" fmla="*/ 300038 w 1618"/>
                <a:gd name="T71" fmla="*/ 44413 h 1209"/>
                <a:gd name="T72" fmla="*/ 286544 w 1618"/>
                <a:gd name="T73" fmla="*/ 51551 h 1209"/>
                <a:gd name="T74" fmla="*/ 276225 w 1618"/>
                <a:gd name="T75" fmla="*/ 65034 h 1209"/>
                <a:gd name="T76" fmla="*/ 286544 w 1618"/>
                <a:gd name="T77" fmla="*/ 71378 h 1209"/>
                <a:gd name="T78" fmla="*/ 293688 w 1618"/>
                <a:gd name="T79" fmla="*/ 81689 h 1209"/>
                <a:gd name="T80" fmla="*/ 276225 w 1618"/>
                <a:gd name="T81" fmla="*/ 88826 h 1209"/>
                <a:gd name="T82" fmla="*/ 286544 w 1618"/>
                <a:gd name="T83" fmla="*/ 102309 h 1209"/>
                <a:gd name="T84" fmla="*/ 286544 w 1618"/>
                <a:gd name="T85" fmla="*/ 109447 h 1209"/>
                <a:gd name="T86" fmla="*/ 272256 w 1618"/>
                <a:gd name="T87" fmla="*/ 122929 h 1209"/>
                <a:gd name="T88" fmla="*/ 269081 w 1618"/>
                <a:gd name="T89" fmla="*/ 122929 h 1209"/>
                <a:gd name="T90" fmla="*/ 261938 w 1618"/>
                <a:gd name="T91" fmla="*/ 130067 h 1209"/>
                <a:gd name="T92" fmla="*/ 272256 w 1618"/>
                <a:gd name="T93" fmla="*/ 140378 h 1209"/>
                <a:gd name="T94" fmla="*/ 261938 w 1618"/>
                <a:gd name="T95" fmla="*/ 143550 h 1209"/>
                <a:gd name="T96" fmla="*/ 255588 w 1618"/>
                <a:gd name="T97" fmla="*/ 153860 h 1209"/>
                <a:gd name="T98" fmla="*/ 258763 w 1618"/>
                <a:gd name="T99" fmla="*/ 160205 h 1209"/>
                <a:gd name="T100" fmla="*/ 223838 w 1618"/>
                <a:gd name="T101" fmla="*/ 170515 h 1209"/>
                <a:gd name="T102" fmla="*/ 213519 w 1618"/>
                <a:gd name="T103" fmla="*/ 177653 h 1209"/>
                <a:gd name="T104" fmla="*/ 195263 w 1618"/>
                <a:gd name="T105" fmla="*/ 191135 h 1209"/>
                <a:gd name="T106" fmla="*/ 184944 w 1618"/>
                <a:gd name="T107" fmla="*/ 191135 h 1209"/>
                <a:gd name="T108" fmla="*/ 170656 w 1618"/>
                <a:gd name="T109" fmla="*/ 205411 h 1209"/>
                <a:gd name="T110" fmla="*/ 160338 w 1618"/>
                <a:gd name="T111" fmla="*/ 218894 h 1209"/>
                <a:gd name="T112" fmla="*/ 157163 w 1618"/>
                <a:gd name="T113" fmla="*/ 239514 h 1209"/>
                <a:gd name="T114" fmla="*/ 146844 w 1618"/>
                <a:gd name="T115" fmla="*/ 235549 h 1209"/>
                <a:gd name="T116" fmla="*/ 129381 w 1618"/>
                <a:gd name="T117" fmla="*/ 229204 h 1209"/>
                <a:gd name="T118" fmla="*/ 115094 w 1618"/>
                <a:gd name="T119" fmla="*/ 211756 h 1209"/>
                <a:gd name="T120" fmla="*/ 111919 w 1618"/>
                <a:gd name="T121" fmla="*/ 201446 h 1209"/>
                <a:gd name="T122" fmla="*/ 100806 w 1618"/>
                <a:gd name="T123" fmla="*/ 188756 h 1209"/>
                <a:gd name="T124" fmla="*/ 108744 w 1618"/>
                <a:gd name="T125" fmla="*/ 170515 h 1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8"/>
                <a:gd name="T190" fmla="*/ 0 h 1209"/>
                <a:gd name="T191" fmla="*/ 1618 w 1618"/>
                <a:gd name="T192" fmla="*/ 1209 h 12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8" h="1209">
                  <a:moveTo>
                    <a:pt x="545" y="846"/>
                  </a:moveTo>
                  <a:lnTo>
                    <a:pt x="562" y="846"/>
                  </a:lnTo>
                  <a:lnTo>
                    <a:pt x="562" y="829"/>
                  </a:lnTo>
                  <a:lnTo>
                    <a:pt x="579" y="811"/>
                  </a:lnTo>
                  <a:lnTo>
                    <a:pt x="599" y="777"/>
                  </a:lnTo>
                  <a:lnTo>
                    <a:pt x="562" y="777"/>
                  </a:lnTo>
                  <a:lnTo>
                    <a:pt x="510" y="777"/>
                  </a:lnTo>
                  <a:lnTo>
                    <a:pt x="493" y="742"/>
                  </a:lnTo>
                  <a:lnTo>
                    <a:pt x="510" y="742"/>
                  </a:lnTo>
                  <a:lnTo>
                    <a:pt x="527" y="760"/>
                  </a:lnTo>
                  <a:lnTo>
                    <a:pt x="545" y="760"/>
                  </a:lnTo>
                  <a:lnTo>
                    <a:pt x="562" y="760"/>
                  </a:lnTo>
                  <a:lnTo>
                    <a:pt x="562" y="742"/>
                  </a:lnTo>
                  <a:lnTo>
                    <a:pt x="562" y="725"/>
                  </a:lnTo>
                  <a:lnTo>
                    <a:pt x="527" y="708"/>
                  </a:lnTo>
                  <a:lnTo>
                    <a:pt x="510" y="691"/>
                  </a:lnTo>
                  <a:lnTo>
                    <a:pt x="510" y="708"/>
                  </a:lnTo>
                  <a:lnTo>
                    <a:pt x="493" y="708"/>
                  </a:lnTo>
                  <a:lnTo>
                    <a:pt x="476" y="725"/>
                  </a:lnTo>
                  <a:lnTo>
                    <a:pt x="458" y="708"/>
                  </a:lnTo>
                  <a:lnTo>
                    <a:pt x="458" y="691"/>
                  </a:lnTo>
                  <a:lnTo>
                    <a:pt x="458" y="673"/>
                  </a:lnTo>
                  <a:lnTo>
                    <a:pt x="476" y="673"/>
                  </a:lnTo>
                  <a:lnTo>
                    <a:pt x="476" y="656"/>
                  </a:lnTo>
                  <a:lnTo>
                    <a:pt x="458" y="639"/>
                  </a:lnTo>
                  <a:lnTo>
                    <a:pt x="458" y="621"/>
                  </a:lnTo>
                  <a:lnTo>
                    <a:pt x="458" y="589"/>
                  </a:lnTo>
                  <a:lnTo>
                    <a:pt x="422" y="552"/>
                  </a:lnTo>
                  <a:lnTo>
                    <a:pt x="405" y="518"/>
                  </a:lnTo>
                  <a:lnTo>
                    <a:pt x="351" y="501"/>
                  </a:lnTo>
                  <a:lnTo>
                    <a:pt x="316" y="466"/>
                  </a:lnTo>
                  <a:lnTo>
                    <a:pt x="263" y="466"/>
                  </a:lnTo>
                  <a:lnTo>
                    <a:pt x="245" y="466"/>
                  </a:lnTo>
                  <a:lnTo>
                    <a:pt x="228" y="466"/>
                  </a:lnTo>
                  <a:lnTo>
                    <a:pt x="211" y="483"/>
                  </a:lnTo>
                  <a:lnTo>
                    <a:pt x="193" y="483"/>
                  </a:lnTo>
                  <a:lnTo>
                    <a:pt x="193" y="466"/>
                  </a:lnTo>
                  <a:lnTo>
                    <a:pt x="176" y="466"/>
                  </a:lnTo>
                  <a:lnTo>
                    <a:pt x="176" y="483"/>
                  </a:lnTo>
                  <a:lnTo>
                    <a:pt x="157" y="483"/>
                  </a:lnTo>
                  <a:lnTo>
                    <a:pt x="140" y="483"/>
                  </a:lnTo>
                  <a:lnTo>
                    <a:pt x="122" y="466"/>
                  </a:lnTo>
                  <a:lnTo>
                    <a:pt x="105" y="466"/>
                  </a:lnTo>
                  <a:lnTo>
                    <a:pt x="105" y="449"/>
                  </a:lnTo>
                  <a:lnTo>
                    <a:pt x="122" y="449"/>
                  </a:lnTo>
                  <a:lnTo>
                    <a:pt x="122" y="432"/>
                  </a:lnTo>
                  <a:lnTo>
                    <a:pt x="105" y="432"/>
                  </a:lnTo>
                  <a:lnTo>
                    <a:pt x="88" y="432"/>
                  </a:lnTo>
                  <a:lnTo>
                    <a:pt x="71" y="432"/>
                  </a:lnTo>
                  <a:lnTo>
                    <a:pt x="53" y="432"/>
                  </a:lnTo>
                  <a:lnTo>
                    <a:pt x="53" y="414"/>
                  </a:lnTo>
                  <a:lnTo>
                    <a:pt x="71" y="414"/>
                  </a:lnTo>
                  <a:lnTo>
                    <a:pt x="88" y="414"/>
                  </a:lnTo>
                  <a:lnTo>
                    <a:pt x="105" y="414"/>
                  </a:lnTo>
                  <a:lnTo>
                    <a:pt x="122" y="414"/>
                  </a:lnTo>
                  <a:lnTo>
                    <a:pt x="122" y="397"/>
                  </a:lnTo>
                  <a:lnTo>
                    <a:pt x="157" y="397"/>
                  </a:lnTo>
                  <a:lnTo>
                    <a:pt x="176" y="397"/>
                  </a:lnTo>
                  <a:lnTo>
                    <a:pt x="176" y="380"/>
                  </a:lnTo>
                  <a:lnTo>
                    <a:pt x="157" y="380"/>
                  </a:lnTo>
                  <a:lnTo>
                    <a:pt x="140" y="380"/>
                  </a:lnTo>
                  <a:lnTo>
                    <a:pt x="122" y="380"/>
                  </a:lnTo>
                  <a:lnTo>
                    <a:pt x="105" y="380"/>
                  </a:lnTo>
                  <a:lnTo>
                    <a:pt x="71" y="380"/>
                  </a:lnTo>
                  <a:lnTo>
                    <a:pt x="36" y="380"/>
                  </a:lnTo>
                  <a:lnTo>
                    <a:pt x="0" y="345"/>
                  </a:lnTo>
                  <a:lnTo>
                    <a:pt x="17" y="328"/>
                  </a:lnTo>
                  <a:lnTo>
                    <a:pt x="36" y="328"/>
                  </a:lnTo>
                  <a:lnTo>
                    <a:pt x="53" y="328"/>
                  </a:lnTo>
                  <a:lnTo>
                    <a:pt x="71" y="328"/>
                  </a:lnTo>
                  <a:lnTo>
                    <a:pt x="88" y="311"/>
                  </a:lnTo>
                  <a:lnTo>
                    <a:pt x="105" y="311"/>
                  </a:lnTo>
                  <a:lnTo>
                    <a:pt x="122" y="311"/>
                  </a:lnTo>
                  <a:lnTo>
                    <a:pt x="157" y="311"/>
                  </a:lnTo>
                  <a:lnTo>
                    <a:pt x="176" y="293"/>
                  </a:lnTo>
                  <a:lnTo>
                    <a:pt x="193" y="278"/>
                  </a:lnTo>
                  <a:lnTo>
                    <a:pt x="211" y="261"/>
                  </a:lnTo>
                  <a:lnTo>
                    <a:pt x="176" y="243"/>
                  </a:lnTo>
                  <a:lnTo>
                    <a:pt x="157" y="243"/>
                  </a:lnTo>
                  <a:lnTo>
                    <a:pt x="140" y="226"/>
                  </a:lnTo>
                  <a:lnTo>
                    <a:pt x="157" y="209"/>
                  </a:lnTo>
                  <a:lnTo>
                    <a:pt x="193" y="209"/>
                  </a:lnTo>
                  <a:lnTo>
                    <a:pt x="228" y="192"/>
                  </a:lnTo>
                  <a:lnTo>
                    <a:pt x="245" y="155"/>
                  </a:lnTo>
                  <a:lnTo>
                    <a:pt x="263" y="155"/>
                  </a:lnTo>
                  <a:lnTo>
                    <a:pt x="280" y="172"/>
                  </a:lnTo>
                  <a:lnTo>
                    <a:pt x="297" y="155"/>
                  </a:lnTo>
                  <a:lnTo>
                    <a:pt x="297" y="138"/>
                  </a:lnTo>
                  <a:lnTo>
                    <a:pt x="316" y="121"/>
                  </a:lnTo>
                  <a:lnTo>
                    <a:pt x="351" y="121"/>
                  </a:lnTo>
                  <a:lnTo>
                    <a:pt x="368" y="103"/>
                  </a:lnTo>
                  <a:lnTo>
                    <a:pt x="405" y="103"/>
                  </a:lnTo>
                  <a:lnTo>
                    <a:pt x="422" y="86"/>
                  </a:lnTo>
                  <a:lnTo>
                    <a:pt x="458" y="86"/>
                  </a:lnTo>
                  <a:lnTo>
                    <a:pt x="476" y="86"/>
                  </a:lnTo>
                  <a:lnTo>
                    <a:pt x="493" y="103"/>
                  </a:lnTo>
                  <a:lnTo>
                    <a:pt x="510" y="121"/>
                  </a:lnTo>
                  <a:lnTo>
                    <a:pt x="510" y="103"/>
                  </a:lnTo>
                  <a:lnTo>
                    <a:pt x="510" y="86"/>
                  </a:lnTo>
                  <a:lnTo>
                    <a:pt x="527" y="103"/>
                  </a:lnTo>
                  <a:lnTo>
                    <a:pt x="562" y="103"/>
                  </a:lnTo>
                  <a:lnTo>
                    <a:pt x="562" y="86"/>
                  </a:lnTo>
                  <a:lnTo>
                    <a:pt x="579" y="86"/>
                  </a:lnTo>
                  <a:lnTo>
                    <a:pt x="616" y="86"/>
                  </a:lnTo>
                  <a:lnTo>
                    <a:pt x="650" y="86"/>
                  </a:lnTo>
                  <a:lnTo>
                    <a:pt x="668" y="103"/>
                  </a:lnTo>
                  <a:lnTo>
                    <a:pt x="685" y="103"/>
                  </a:lnTo>
                  <a:lnTo>
                    <a:pt x="702" y="103"/>
                  </a:lnTo>
                  <a:lnTo>
                    <a:pt x="685" y="103"/>
                  </a:lnTo>
                  <a:lnTo>
                    <a:pt x="668" y="86"/>
                  </a:lnTo>
                  <a:lnTo>
                    <a:pt x="650" y="69"/>
                  </a:lnTo>
                  <a:lnTo>
                    <a:pt x="668" y="69"/>
                  </a:lnTo>
                  <a:lnTo>
                    <a:pt x="685" y="69"/>
                  </a:lnTo>
                  <a:lnTo>
                    <a:pt x="685" y="52"/>
                  </a:lnTo>
                  <a:lnTo>
                    <a:pt x="702" y="34"/>
                  </a:lnTo>
                  <a:lnTo>
                    <a:pt x="739" y="34"/>
                  </a:lnTo>
                  <a:lnTo>
                    <a:pt x="756" y="34"/>
                  </a:lnTo>
                  <a:lnTo>
                    <a:pt x="773" y="34"/>
                  </a:lnTo>
                  <a:lnTo>
                    <a:pt x="808" y="34"/>
                  </a:lnTo>
                  <a:lnTo>
                    <a:pt x="827" y="34"/>
                  </a:lnTo>
                  <a:lnTo>
                    <a:pt x="844" y="34"/>
                  </a:lnTo>
                  <a:lnTo>
                    <a:pt x="862" y="34"/>
                  </a:lnTo>
                  <a:lnTo>
                    <a:pt x="881" y="34"/>
                  </a:lnTo>
                  <a:lnTo>
                    <a:pt x="915" y="17"/>
                  </a:lnTo>
                  <a:lnTo>
                    <a:pt x="967" y="0"/>
                  </a:lnTo>
                  <a:lnTo>
                    <a:pt x="1004" y="0"/>
                  </a:lnTo>
                  <a:lnTo>
                    <a:pt x="1055" y="0"/>
                  </a:lnTo>
                  <a:lnTo>
                    <a:pt x="1090" y="0"/>
                  </a:lnTo>
                  <a:lnTo>
                    <a:pt x="1161" y="0"/>
                  </a:lnTo>
                  <a:lnTo>
                    <a:pt x="1196" y="17"/>
                  </a:lnTo>
                  <a:lnTo>
                    <a:pt x="1249" y="34"/>
                  </a:lnTo>
                  <a:lnTo>
                    <a:pt x="1286" y="52"/>
                  </a:lnTo>
                  <a:lnTo>
                    <a:pt x="1320" y="52"/>
                  </a:lnTo>
                  <a:lnTo>
                    <a:pt x="1338" y="52"/>
                  </a:lnTo>
                  <a:lnTo>
                    <a:pt x="1372" y="69"/>
                  </a:lnTo>
                  <a:lnTo>
                    <a:pt x="1355" y="86"/>
                  </a:lnTo>
                  <a:lnTo>
                    <a:pt x="1320" y="86"/>
                  </a:lnTo>
                  <a:lnTo>
                    <a:pt x="1267" y="86"/>
                  </a:lnTo>
                  <a:lnTo>
                    <a:pt x="1249" y="103"/>
                  </a:lnTo>
                  <a:lnTo>
                    <a:pt x="1178" y="103"/>
                  </a:lnTo>
                  <a:lnTo>
                    <a:pt x="1090" y="103"/>
                  </a:lnTo>
                  <a:lnTo>
                    <a:pt x="1073" y="103"/>
                  </a:lnTo>
                  <a:lnTo>
                    <a:pt x="1090" y="121"/>
                  </a:lnTo>
                  <a:lnTo>
                    <a:pt x="1161" y="103"/>
                  </a:lnTo>
                  <a:lnTo>
                    <a:pt x="1213" y="103"/>
                  </a:lnTo>
                  <a:lnTo>
                    <a:pt x="1267" y="103"/>
                  </a:lnTo>
                  <a:lnTo>
                    <a:pt x="1249" y="121"/>
                  </a:lnTo>
                  <a:lnTo>
                    <a:pt x="1230" y="155"/>
                  </a:lnTo>
                  <a:lnTo>
                    <a:pt x="1213" y="155"/>
                  </a:lnTo>
                  <a:lnTo>
                    <a:pt x="1267" y="155"/>
                  </a:lnTo>
                  <a:lnTo>
                    <a:pt x="1303" y="121"/>
                  </a:lnTo>
                  <a:lnTo>
                    <a:pt x="1338" y="103"/>
                  </a:lnTo>
                  <a:lnTo>
                    <a:pt x="1355" y="103"/>
                  </a:lnTo>
                  <a:lnTo>
                    <a:pt x="1355" y="121"/>
                  </a:lnTo>
                  <a:lnTo>
                    <a:pt x="1372" y="138"/>
                  </a:lnTo>
                  <a:lnTo>
                    <a:pt x="1338" y="155"/>
                  </a:lnTo>
                  <a:lnTo>
                    <a:pt x="1320" y="192"/>
                  </a:lnTo>
                  <a:lnTo>
                    <a:pt x="1303" y="209"/>
                  </a:lnTo>
                  <a:lnTo>
                    <a:pt x="1338" y="192"/>
                  </a:lnTo>
                  <a:lnTo>
                    <a:pt x="1372" y="155"/>
                  </a:lnTo>
                  <a:lnTo>
                    <a:pt x="1389" y="138"/>
                  </a:lnTo>
                  <a:lnTo>
                    <a:pt x="1407" y="138"/>
                  </a:lnTo>
                  <a:lnTo>
                    <a:pt x="1443" y="138"/>
                  </a:lnTo>
                  <a:lnTo>
                    <a:pt x="1460" y="138"/>
                  </a:lnTo>
                  <a:lnTo>
                    <a:pt x="1478" y="138"/>
                  </a:lnTo>
                  <a:lnTo>
                    <a:pt x="1495" y="138"/>
                  </a:lnTo>
                  <a:lnTo>
                    <a:pt x="1495" y="121"/>
                  </a:lnTo>
                  <a:lnTo>
                    <a:pt x="1512" y="121"/>
                  </a:lnTo>
                  <a:lnTo>
                    <a:pt x="1547" y="121"/>
                  </a:lnTo>
                  <a:lnTo>
                    <a:pt x="1566" y="121"/>
                  </a:lnTo>
                  <a:lnTo>
                    <a:pt x="1566" y="103"/>
                  </a:lnTo>
                  <a:lnTo>
                    <a:pt x="1601" y="103"/>
                  </a:lnTo>
                  <a:lnTo>
                    <a:pt x="1618" y="121"/>
                  </a:lnTo>
                  <a:lnTo>
                    <a:pt x="1618" y="138"/>
                  </a:lnTo>
                  <a:lnTo>
                    <a:pt x="1618" y="155"/>
                  </a:lnTo>
                  <a:lnTo>
                    <a:pt x="1566" y="172"/>
                  </a:lnTo>
                  <a:lnTo>
                    <a:pt x="1547" y="192"/>
                  </a:lnTo>
                  <a:lnTo>
                    <a:pt x="1512" y="209"/>
                  </a:lnTo>
                  <a:lnTo>
                    <a:pt x="1530" y="209"/>
                  </a:lnTo>
                  <a:lnTo>
                    <a:pt x="1512" y="226"/>
                  </a:lnTo>
                  <a:lnTo>
                    <a:pt x="1495" y="226"/>
                  </a:lnTo>
                  <a:lnTo>
                    <a:pt x="1495" y="243"/>
                  </a:lnTo>
                  <a:lnTo>
                    <a:pt x="1478" y="261"/>
                  </a:lnTo>
                  <a:lnTo>
                    <a:pt x="1460" y="261"/>
                  </a:lnTo>
                  <a:lnTo>
                    <a:pt x="1443" y="261"/>
                  </a:lnTo>
                  <a:lnTo>
                    <a:pt x="1443" y="278"/>
                  </a:lnTo>
                  <a:lnTo>
                    <a:pt x="1443" y="293"/>
                  </a:lnTo>
                  <a:lnTo>
                    <a:pt x="1426" y="311"/>
                  </a:lnTo>
                  <a:lnTo>
                    <a:pt x="1407" y="328"/>
                  </a:lnTo>
                  <a:lnTo>
                    <a:pt x="1389" y="328"/>
                  </a:lnTo>
                  <a:lnTo>
                    <a:pt x="1389" y="345"/>
                  </a:lnTo>
                  <a:lnTo>
                    <a:pt x="1389" y="362"/>
                  </a:lnTo>
                  <a:lnTo>
                    <a:pt x="1407" y="362"/>
                  </a:lnTo>
                  <a:lnTo>
                    <a:pt x="1426" y="362"/>
                  </a:lnTo>
                  <a:lnTo>
                    <a:pt x="1443" y="362"/>
                  </a:lnTo>
                  <a:lnTo>
                    <a:pt x="1443" y="380"/>
                  </a:lnTo>
                  <a:lnTo>
                    <a:pt x="1460" y="380"/>
                  </a:lnTo>
                  <a:lnTo>
                    <a:pt x="1443" y="380"/>
                  </a:lnTo>
                  <a:lnTo>
                    <a:pt x="1478" y="397"/>
                  </a:lnTo>
                  <a:lnTo>
                    <a:pt x="1478" y="414"/>
                  </a:lnTo>
                  <a:lnTo>
                    <a:pt x="1460" y="432"/>
                  </a:lnTo>
                  <a:lnTo>
                    <a:pt x="1443" y="432"/>
                  </a:lnTo>
                  <a:lnTo>
                    <a:pt x="1407" y="432"/>
                  </a:lnTo>
                  <a:lnTo>
                    <a:pt x="1389" y="432"/>
                  </a:lnTo>
                  <a:lnTo>
                    <a:pt x="1389" y="449"/>
                  </a:lnTo>
                  <a:lnTo>
                    <a:pt x="1407" y="449"/>
                  </a:lnTo>
                  <a:lnTo>
                    <a:pt x="1426" y="449"/>
                  </a:lnTo>
                  <a:lnTo>
                    <a:pt x="1443" y="483"/>
                  </a:lnTo>
                  <a:lnTo>
                    <a:pt x="1443" y="501"/>
                  </a:lnTo>
                  <a:lnTo>
                    <a:pt x="1443" y="518"/>
                  </a:lnTo>
                  <a:lnTo>
                    <a:pt x="1426" y="518"/>
                  </a:lnTo>
                  <a:lnTo>
                    <a:pt x="1407" y="518"/>
                  </a:lnTo>
                  <a:lnTo>
                    <a:pt x="1407" y="535"/>
                  </a:lnTo>
                  <a:lnTo>
                    <a:pt x="1426" y="552"/>
                  </a:lnTo>
                  <a:lnTo>
                    <a:pt x="1443" y="552"/>
                  </a:lnTo>
                  <a:lnTo>
                    <a:pt x="1426" y="572"/>
                  </a:lnTo>
                  <a:lnTo>
                    <a:pt x="1407" y="572"/>
                  </a:lnTo>
                  <a:lnTo>
                    <a:pt x="1407" y="589"/>
                  </a:lnTo>
                  <a:lnTo>
                    <a:pt x="1389" y="606"/>
                  </a:lnTo>
                  <a:lnTo>
                    <a:pt x="1372" y="621"/>
                  </a:lnTo>
                  <a:lnTo>
                    <a:pt x="1355" y="621"/>
                  </a:lnTo>
                  <a:lnTo>
                    <a:pt x="1338" y="606"/>
                  </a:lnTo>
                  <a:lnTo>
                    <a:pt x="1320" y="606"/>
                  </a:lnTo>
                  <a:lnTo>
                    <a:pt x="1338" y="621"/>
                  </a:lnTo>
                  <a:lnTo>
                    <a:pt x="1355" y="621"/>
                  </a:lnTo>
                  <a:lnTo>
                    <a:pt x="1372" y="656"/>
                  </a:lnTo>
                  <a:lnTo>
                    <a:pt x="1372" y="673"/>
                  </a:lnTo>
                  <a:lnTo>
                    <a:pt x="1355" y="673"/>
                  </a:lnTo>
                  <a:lnTo>
                    <a:pt x="1338" y="673"/>
                  </a:lnTo>
                  <a:lnTo>
                    <a:pt x="1320" y="656"/>
                  </a:lnTo>
                  <a:lnTo>
                    <a:pt x="1303" y="621"/>
                  </a:lnTo>
                  <a:lnTo>
                    <a:pt x="1286" y="621"/>
                  </a:lnTo>
                  <a:lnTo>
                    <a:pt x="1286" y="639"/>
                  </a:lnTo>
                  <a:lnTo>
                    <a:pt x="1338" y="673"/>
                  </a:lnTo>
                  <a:lnTo>
                    <a:pt x="1372" y="708"/>
                  </a:lnTo>
                  <a:lnTo>
                    <a:pt x="1389" y="742"/>
                  </a:lnTo>
                  <a:lnTo>
                    <a:pt x="1389" y="760"/>
                  </a:lnTo>
                  <a:lnTo>
                    <a:pt x="1372" y="760"/>
                  </a:lnTo>
                  <a:lnTo>
                    <a:pt x="1338" y="742"/>
                  </a:lnTo>
                  <a:lnTo>
                    <a:pt x="1320" y="725"/>
                  </a:lnTo>
                  <a:lnTo>
                    <a:pt x="1286" y="725"/>
                  </a:lnTo>
                  <a:lnTo>
                    <a:pt x="1267" y="725"/>
                  </a:lnTo>
                  <a:lnTo>
                    <a:pt x="1286" y="725"/>
                  </a:lnTo>
                  <a:lnTo>
                    <a:pt x="1267" y="742"/>
                  </a:lnTo>
                  <a:lnTo>
                    <a:pt x="1286" y="777"/>
                  </a:lnTo>
                  <a:lnTo>
                    <a:pt x="1338" y="777"/>
                  </a:lnTo>
                  <a:lnTo>
                    <a:pt x="1372" y="777"/>
                  </a:lnTo>
                  <a:lnTo>
                    <a:pt x="1355" y="777"/>
                  </a:lnTo>
                  <a:lnTo>
                    <a:pt x="1338" y="794"/>
                  </a:lnTo>
                  <a:lnTo>
                    <a:pt x="1303" y="811"/>
                  </a:lnTo>
                  <a:lnTo>
                    <a:pt x="1267" y="829"/>
                  </a:lnTo>
                  <a:lnTo>
                    <a:pt x="1213" y="846"/>
                  </a:lnTo>
                  <a:lnTo>
                    <a:pt x="1196" y="846"/>
                  </a:lnTo>
                  <a:lnTo>
                    <a:pt x="1161" y="863"/>
                  </a:lnTo>
                  <a:lnTo>
                    <a:pt x="1125" y="863"/>
                  </a:lnTo>
                  <a:lnTo>
                    <a:pt x="1107" y="863"/>
                  </a:lnTo>
                  <a:lnTo>
                    <a:pt x="1090" y="863"/>
                  </a:lnTo>
                  <a:lnTo>
                    <a:pt x="1090" y="881"/>
                  </a:lnTo>
                  <a:lnTo>
                    <a:pt x="1090" y="898"/>
                  </a:lnTo>
                  <a:lnTo>
                    <a:pt x="1073" y="898"/>
                  </a:lnTo>
                  <a:lnTo>
                    <a:pt x="1055" y="915"/>
                  </a:lnTo>
                  <a:lnTo>
                    <a:pt x="1038" y="932"/>
                  </a:lnTo>
                  <a:lnTo>
                    <a:pt x="1038" y="952"/>
                  </a:lnTo>
                  <a:lnTo>
                    <a:pt x="1021" y="952"/>
                  </a:lnTo>
                  <a:lnTo>
                    <a:pt x="984" y="967"/>
                  </a:lnTo>
                  <a:lnTo>
                    <a:pt x="967" y="967"/>
                  </a:lnTo>
                  <a:lnTo>
                    <a:pt x="950" y="967"/>
                  </a:lnTo>
                  <a:lnTo>
                    <a:pt x="950" y="952"/>
                  </a:lnTo>
                  <a:lnTo>
                    <a:pt x="933" y="952"/>
                  </a:lnTo>
                  <a:lnTo>
                    <a:pt x="933" y="967"/>
                  </a:lnTo>
                  <a:lnTo>
                    <a:pt x="933" y="984"/>
                  </a:lnTo>
                  <a:lnTo>
                    <a:pt x="915" y="1001"/>
                  </a:lnTo>
                  <a:lnTo>
                    <a:pt x="862" y="1001"/>
                  </a:lnTo>
                  <a:lnTo>
                    <a:pt x="862" y="1019"/>
                  </a:lnTo>
                  <a:lnTo>
                    <a:pt x="862" y="1036"/>
                  </a:lnTo>
                  <a:lnTo>
                    <a:pt x="862" y="1053"/>
                  </a:lnTo>
                  <a:lnTo>
                    <a:pt x="862" y="1070"/>
                  </a:lnTo>
                  <a:lnTo>
                    <a:pt x="827" y="1070"/>
                  </a:lnTo>
                  <a:lnTo>
                    <a:pt x="827" y="1105"/>
                  </a:lnTo>
                  <a:lnTo>
                    <a:pt x="808" y="1105"/>
                  </a:lnTo>
                  <a:lnTo>
                    <a:pt x="808" y="1122"/>
                  </a:lnTo>
                  <a:lnTo>
                    <a:pt x="827" y="1157"/>
                  </a:lnTo>
                  <a:lnTo>
                    <a:pt x="808" y="1157"/>
                  </a:lnTo>
                  <a:lnTo>
                    <a:pt x="808" y="1191"/>
                  </a:lnTo>
                  <a:lnTo>
                    <a:pt x="790" y="1209"/>
                  </a:lnTo>
                  <a:lnTo>
                    <a:pt x="773" y="1209"/>
                  </a:lnTo>
                  <a:lnTo>
                    <a:pt x="773" y="1191"/>
                  </a:lnTo>
                  <a:lnTo>
                    <a:pt x="756" y="1191"/>
                  </a:lnTo>
                  <a:lnTo>
                    <a:pt x="756" y="1209"/>
                  </a:lnTo>
                  <a:lnTo>
                    <a:pt x="739" y="1191"/>
                  </a:lnTo>
                  <a:lnTo>
                    <a:pt x="721" y="1157"/>
                  </a:lnTo>
                  <a:lnTo>
                    <a:pt x="702" y="1157"/>
                  </a:lnTo>
                  <a:lnTo>
                    <a:pt x="685" y="1157"/>
                  </a:lnTo>
                  <a:lnTo>
                    <a:pt x="668" y="1157"/>
                  </a:lnTo>
                  <a:lnTo>
                    <a:pt x="650" y="1157"/>
                  </a:lnTo>
                  <a:lnTo>
                    <a:pt x="633" y="1157"/>
                  </a:lnTo>
                  <a:lnTo>
                    <a:pt x="633" y="1140"/>
                  </a:lnTo>
                  <a:lnTo>
                    <a:pt x="633" y="1122"/>
                  </a:lnTo>
                  <a:lnTo>
                    <a:pt x="616" y="1105"/>
                  </a:lnTo>
                  <a:lnTo>
                    <a:pt x="579" y="1070"/>
                  </a:lnTo>
                  <a:lnTo>
                    <a:pt x="562" y="1053"/>
                  </a:lnTo>
                  <a:lnTo>
                    <a:pt x="562" y="1036"/>
                  </a:lnTo>
                  <a:lnTo>
                    <a:pt x="579" y="1036"/>
                  </a:lnTo>
                  <a:lnTo>
                    <a:pt x="579" y="1019"/>
                  </a:lnTo>
                  <a:lnTo>
                    <a:pt x="562" y="1019"/>
                  </a:lnTo>
                  <a:lnTo>
                    <a:pt x="545" y="1019"/>
                  </a:lnTo>
                  <a:lnTo>
                    <a:pt x="545" y="1001"/>
                  </a:lnTo>
                  <a:lnTo>
                    <a:pt x="527" y="1001"/>
                  </a:lnTo>
                  <a:lnTo>
                    <a:pt x="510" y="967"/>
                  </a:lnTo>
                  <a:lnTo>
                    <a:pt x="510" y="952"/>
                  </a:lnTo>
                  <a:lnTo>
                    <a:pt x="510" y="932"/>
                  </a:lnTo>
                  <a:lnTo>
                    <a:pt x="510" y="915"/>
                  </a:lnTo>
                  <a:lnTo>
                    <a:pt x="510" y="898"/>
                  </a:lnTo>
                  <a:lnTo>
                    <a:pt x="527" y="881"/>
                  </a:lnTo>
                  <a:lnTo>
                    <a:pt x="545" y="863"/>
                  </a:lnTo>
                  <a:lnTo>
                    <a:pt x="545" y="84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69" name="Freeform 30">
              <a:extLst>
                <a:ext uri="{FF2B5EF4-FFF2-40B4-BE49-F238E27FC236}">
                  <a16:creationId xmlns:a16="http://schemas.microsoft.com/office/drawing/2014/main" id="{3EBA8730-FAA9-4E2C-B7C9-300FB16C1403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508375" y="2620963"/>
              <a:ext cx="69850" cy="41275"/>
            </a:xfrm>
            <a:custGeom>
              <a:avLst/>
              <a:gdLst>
                <a:gd name="T0" fmla="*/ 4061 w 86"/>
                <a:gd name="T1" fmla="*/ 10319 h 52"/>
                <a:gd name="T2" fmla="*/ 4061 w 86"/>
                <a:gd name="T3" fmla="*/ 7144 h 52"/>
                <a:gd name="T4" fmla="*/ 0 w 86"/>
                <a:gd name="T5" fmla="*/ 3969 h 52"/>
                <a:gd name="T6" fmla="*/ 0 w 86"/>
                <a:gd name="T7" fmla="*/ 0 h 52"/>
                <a:gd name="T8" fmla="*/ 4061 w 86"/>
                <a:gd name="T9" fmla="*/ 0 h 52"/>
                <a:gd name="T10" fmla="*/ 7310 w 86"/>
                <a:gd name="T11" fmla="*/ 0 h 52"/>
                <a:gd name="T12" fmla="*/ 10559 w 86"/>
                <a:gd name="T13" fmla="*/ 0 h 52"/>
                <a:gd name="T14" fmla="*/ 18681 w 86"/>
                <a:gd name="T15" fmla="*/ 3969 h 52"/>
                <a:gd name="T16" fmla="*/ 14620 w 86"/>
                <a:gd name="T17" fmla="*/ 7144 h 52"/>
                <a:gd name="T18" fmla="*/ 10559 w 86"/>
                <a:gd name="T19" fmla="*/ 10319 h 52"/>
                <a:gd name="T20" fmla="*/ 7310 w 86"/>
                <a:gd name="T21" fmla="*/ 10319 h 52"/>
                <a:gd name="T22" fmla="*/ 4061 w 86"/>
                <a:gd name="T23" fmla="*/ 10319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6"/>
                <a:gd name="T37" fmla="*/ 0 h 52"/>
                <a:gd name="T38" fmla="*/ 86 w 86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6" h="52">
                  <a:moveTo>
                    <a:pt x="17" y="52"/>
                  </a:moveTo>
                  <a:lnTo>
                    <a:pt x="17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86" y="17"/>
                  </a:lnTo>
                  <a:lnTo>
                    <a:pt x="69" y="34"/>
                  </a:lnTo>
                  <a:lnTo>
                    <a:pt x="51" y="52"/>
                  </a:lnTo>
                  <a:lnTo>
                    <a:pt x="34" y="52"/>
                  </a:lnTo>
                  <a:lnTo>
                    <a:pt x="17" y="5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0" name="Freeform 31">
              <a:extLst>
                <a:ext uri="{FF2B5EF4-FFF2-40B4-BE49-F238E27FC236}">
                  <a16:creationId xmlns:a16="http://schemas.microsoft.com/office/drawing/2014/main" id="{1ECD1919-62E9-48D6-8B10-78E96C86284E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992438" y="2662238"/>
              <a:ext cx="11113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1" name="Freeform 32">
              <a:extLst>
                <a:ext uri="{FF2B5EF4-FFF2-40B4-BE49-F238E27FC236}">
                  <a16:creationId xmlns:a16="http://schemas.microsoft.com/office/drawing/2014/main" id="{1C4F2869-2B7A-48B9-A7E1-BA94F6FB6E9A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191000" y="2759076"/>
              <a:ext cx="211138" cy="82550"/>
            </a:xfrm>
            <a:custGeom>
              <a:avLst/>
              <a:gdLst>
                <a:gd name="T0" fmla="*/ 53382 w 265"/>
                <a:gd name="T1" fmla="*/ 10419 h 103"/>
                <a:gd name="T2" fmla="*/ 49398 w 265"/>
                <a:gd name="T3" fmla="*/ 10419 h 103"/>
                <a:gd name="T4" fmla="*/ 45415 w 265"/>
                <a:gd name="T5" fmla="*/ 14426 h 103"/>
                <a:gd name="T6" fmla="*/ 45415 w 265"/>
                <a:gd name="T7" fmla="*/ 17632 h 103"/>
                <a:gd name="T8" fmla="*/ 39041 w 265"/>
                <a:gd name="T9" fmla="*/ 17632 h 103"/>
                <a:gd name="T10" fmla="*/ 35057 w 265"/>
                <a:gd name="T11" fmla="*/ 20838 h 103"/>
                <a:gd name="T12" fmla="*/ 27886 w 265"/>
                <a:gd name="T13" fmla="*/ 20838 h 103"/>
                <a:gd name="T14" fmla="*/ 21512 w 265"/>
                <a:gd name="T15" fmla="*/ 20838 h 103"/>
                <a:gd name="T16" fmla="*/ 17528 w 265"/>
                <a:gd name="T17" fmla="*/ 20838 h 103"/>
                <a:gd name="T18" fmla="*/ 11154 w 265"/>
                <a:gd name="T19" fmla="*/ 17632 h 103"/>
                <a:gd name="T20" fmla="*/ 7171 w 265"/>
                <a:gd name="T21" fmla="*/ 14426 h 103"/>
                <a:gd name="T22" fmla="*/ 3984 w 265"/>
                <a:gd name="T23" fmla="*/ 14426 h 103"/>
                <a:gd name="T24" fmla="*/ 7171 w 265"/>
                <a:gd name="T25" fmla="*/ 14426 h 103"/>
                <a:gd name="T26" fmla="*/ 7171 w 265"/>
                <a:gd name="T27" fmla="*/ 10419 h 103"/>
                <a:gd name="T28" fmla="*/ 3984 w 265"/>
                <a:gd name="T29" fmla="*/ 10419 h 103"/>
                <a:gd name="T30" fmla="*/ 0 w 265"/>
                <a:gd name="T31" fmla="*/ 10419 h 103"/>
                <a:gd name="T32" fmla="*/ 7171 w 265"/>
                <a:gd name="T33" fmla="*/ 10419 h 103"/>
                <a:gd name="T34" fmla="*/ 11154 w 265"/>
                <a:gd name="T35" fmla="*/ 6412 h 103"/>
                <a:gd name="T36" fmla="*/ 7171 w 265"/>
                <a:gd name="T37" fmla="*/ 6412 h 103"/>
                <a:gd name="T38" fmla="*/ 3984 w 265"/>
                <a:gd name="T39" fmla="*/ 6412 h 103"/>
                <a:gd name="T40" fmla="*/ 0 w 265"/>
                <a:gd name="T41" fmla="*/ 3206 h 103"/>
                <a:gd name="T42" fmla="*/ 0 w 265"/>
                <a:gd name="T43" fmla="*/ 0 h 103"/>
                <a:gd name="T44" fmla="*/ 0 w 265"/>
                <a:gd name="T45" fmla="*/ 3206 h 103"/>
                <a:gd name="T46" fmla="*/ 0 w 265"/>
                <a:gd name="T47" fmla="*/ 0 h 103"/>
                <a:gd name="T48" fmla="*/ 3984 w 265"/>
                <a:gd name="T49" fmla="*/ 0 h 103"/>
                <a:gd name="T50" fmla="*/ 7171 w 265"/>
                <a:gd name="T51" fmla="*/ 0 h 103"/>
                <a:gd name="T52" fmla="*/ 11154 w 265"/>
                <a:gd name="T53" fmla="*/ 3206 h 103"/>
                <a:gd name="T54" fmla="*/ 11154 w 265"/>
                <a:gd name="T55" fmla="*/ 6412 h 103"/>
                <a:gd name="T56" fmla="*/ 11154 w 265"/>
                <a:gd name="T57" fmla="*/ 3206 h 103"/>
                <a:gd name="T58" fmla="*/ 14341 w 265"/>
                <a:gd name="T59" fmla="*/ 3206 h 103"/>
                <a:gd name="T60" fmla="*/ 14341 w 265"/>
                <a:gd name="T61" fmla="*/ 0 h 103"/>
                <a:gd name="T62" fmla="*/ 14341 w 265"/>
                <a:gd name="T63" fmla="*/ 3206 h 103"/>
                <a:gd name="T64" fmla="*/ 17528 w 265"/>
                <a:gd name="T65" fmla="*/ 3206 h 103"/>
                <a:gd name="T66" fmla="*/ 21512 w 265"/>
                <a:gd name="T67" fmla="*/ 3206 h 103"/>
                <a:gd name="T68" fmla="*/ 21512 w 265"/>
                <a:gd name="T69" fmla="*/ 0 h 103"/>
                <a:gd name="T70" fmla="*/ 24699 w 265"/>
                <a:gd name="T71" fmla="*/ 0 h 103"/>
                <a:gd name="T72" fmla="*/ 27886 w 265"/>
                <a:gd name="T73" fmla="*/ 0 h 103"/>
                <a:gd name="T74" fmla="*/ 31870 w 265"/>
                <a:gd name="T75" fmla="*/ 3206 h 103"/>
                <a:gd name="T76" fmla="*/ 31870 w 265"/>
                <a:gd name="T77" fmla="*/ 0 h 103"/>
                <a:gd name="T78" fmla="*/ 35057 w 265"/>
                <a:gd name="T79" fmla="*/ 0 h 103"/>
                <a:gd name="T80" fmla="*/ 39041 w 265"/>
                <a:gd name="T81" fmla="*/ 0 h 103"/>
                <a:gd name="T82" fmla="*/ 42228 w 265"/>
                <a:gd name="T83" fmla="*/ 0 h 103"/>
                <a:gd name="T84" fmla="*/ 45415 w 265"/>
                <a:gd name="T85" fmla="*/ 0 h 103"/>
                <a:gd name="T86" fmla="*/ 45415 w 265"/>
                <a:gd name="T87" fmla="*/ 6412 h 103"/>
                <a:gd name="T88" fmla="*/ 53382 w 265"/>
                <a:gd name="T89" fmla="*/ 10419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65"/>
                <a:gd name="T136" fmla="*/ 0 h 103"/>
                <a:gd name="T137" fmla="*/ 265 w 265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65" h="103">
                  <a:moveTo>
                    <a:pt x="265" y="49"/>
                  </a:moveTo>
                  <a:lnTo>
                    <a:pt x="245" y="49"/>
                  </a:lnTo>
                  <a:lnTo>
                    <a:pt x="228" y="69"/>
                  </a:lnTo>
                  <a:lnTo>
                    <a:pt x="228" y="86"/>
                  </a:lnTo>
                  <a:lnTo>
                    <a:pt x="194" y="86"/>
                  </a:lnTo>
                  <a:lnTo>
                    <a:pt x="176" y="103"/>
                  </a:lnTo>
                  <a:lnTo>
                    <a:pt x="140" y="103"/>
                  </a:lnTo>
                  <a:lnTo>
                    <a:pt x="105" y="103"/>
                  </a:lnTo>
                  <a:lnTo>
                    <a:pt x="88" y="103"/>
                  </a:lnTo>
                  <a:lnTo>
                    <a:pt x="53" y="86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34" y="49"/>
                  </a:lnTo>
                  <a:lnTo>
                    <a:pt x="17" y="49"/>
                  </a:lnTo>
                  <a:lnTo>
                    <a:pt x="0" y="49"/>
                  </a:lnTo>
                  <a:lnTo>
                    <a:pt x="34" y="49"/>
                  </a:lnTo>
                  <a:lnTo>
                    <a:pt x="53" y="32"/>
                  </a:lnTo>
                  <a:lnTo>
                    <a:pt x="34" y="32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3" y="15"/>
                  </a:lnTo>
                  <a:lnTo>
                    <a:pt x="53" y="32"/>
                  </a:lnTo>
                  <a:lnTo>
                    <a:pt x="53" y="15"/>
                  </a:lnTo>
                  <a:lnTo>
                    <a:pt x="71" y="15"/>
                  </a:lnTo>
                  <a:lnTo>
                    <a:pt x="71" y="0"/>
                  </a:lnTo>
                  <a:lnTo>
                    <a:pt x="71" y="15"/>
                  </a:lnTo>
                  <a:lnTo>
                    <a:pt x="88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23" y="0"/>
                  </a:lnTo>
                  <a:lnTo>
                    <a:pt x="140" y="0"/>
                  </a:lnTo>
                  <a:lnTo>
                    <a:pt x="159" y="15"/>
                  </a:lnTo>
                  <a:lnTo>
                    <a:pt x="159" y="0"/>
                  </a:lnTo>
                  <a:lnTo>
                    <a:pt x="176" y="0"/>
                  </a:lnTo>
                  <a:lnTo>
                    <a:pt x="194" y="0"/>
                  </a:lnTo>
                  <a:lnTo>
                    <a:pt x="211" y="0"/>
                  </a:lnTo>
                  <a:lnTo>
                    <a:pt x="228" y="0"/>
                  </a:lnTo>
                  <a:lnTo>
                    <a:pt x="228" y="32"/>
                  </a:lnTo>
                  <a:lnTo>
                    <a:pt x="265" y="4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2" name="Freeform 33">
              <a:extLst>
                <a:ext uri="{FF2B5EF4-FFF2-40B4-BE49-F238E27FC236}">
                  <a16:creationId xmlns:a16="http://schemas.microsoft.com/office/drawing/2014/main" id="{DC8B602E-5D72-4AF5-8CDB-2FDE894CBB6F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087688" y="2703513"/>
              <a:ext cx="30163" cy="14288"/>
            </a:xfrm>
            <a:custGeom>
              <a:avLst/>
              <a:gdLst>
                <a:gd name="T0" fmla="*/ 4189 w 36"/>
                <a:gd name="T1" fmla="*/ 4202 h 17"/>
                <a:gd name="T2" fmla="*/ 0 w 36"/>
                <a:gd name="T3" fmla="*/ 4202 h 17"/>
                <a:gd name="T4" fmla="*/ 0 w 36"/>
                <a:gd name="T5" fmla="*/ 0 h 17"/>
                <a:gd name="T6" fmla="*/ 4189 w 36"/>
                <a:gd name="T7" fmla="*/ 0 h 17"/>
                <a:gd name="T8" fmla="*/ 8379 w 36"/>
                <a:gd name="T9" fmla="*/ 4202 h 17"/>
                <a:gd name="T10" fmla="*/ 4189 w 36"/>
                <a:gd name="T11" fmla="*/ 4202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17"/>
                <a:gd name="T20" fmla="*/ 36 w 3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6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3" name="Freeform 34">
              <a:extLst>
                <a:ext uri="{FF2B5EF4-FFF2-40B4-BE49-F238E27FC236}">
                  <a16:creationId xmlns:a16="http://schemas.microsoft.com/office/drawing/2014/main" id="{F4341D23-5995-4DF2-8783-093851A3597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4276725" y="2401888"/>
              <a:ext cx="55563" cy="30163"/>
            </a:xfrm>
            <a:custGeom>
              <a:avLst/>
              <a:gdLst>
                <a:gd name="T0" fmla="*/ 4026 w 69"/>
                <a:gd name="T1" fmla="*/ 8379 h 36"/>
                <a:gd name="T2" fmla="*/ 4026 w 69"/>
                <a:gd name="T3" fmla="*/ 4189 h 36"/>
                <a:gd name="T4" fmla="*/ 0 w 69"/>
                <a:gd name="T5" fmla="*/ 4189 h 36"/>
                <a:gd name="T6" fmla="*/ 4026 w 69"/>
                <a:gd name="T7" fmla="*/ 4189 h 36"/>
                <a:gd name="T8" fmla="*/ 4026 w 69"/>
                <a:gd name="T9" fmla="*/ 0 h 36"/>
                <a:gd name="T10" fmla="*/ 7247 w 69"/>
                <a:gd name="T11" fmla="*/ 0 h 36"/>
                <a:gd name="T12" fmla="*/ 7247 w 69"/>
                <a:gd name="T13" fmla="*/ 4189 h 36"/>
                <a:gd name="T14" fmla="*/ 10468 w 69"/>
                <a:gd name="T15" fmla="*/ 4189 h 36"/>
                <a:gd name="T16" fmla="*/ 14495 w 69"/>
                <a:gd name="T17" fmla="*/ 4189 h 36"/>
                <a:gd name="T18" fmla="*/ 10468 w 69"/>
                <a:gd name="T19" fmla="*/ 4189 h 36"/>
                <a:gd name="T20" fmla="*/ 7247 w 69"/>
                <a:gd name="T21" fmla="*/ 8379 h 36"/>
                <a:gd name="T22" fmla="*/ 4026 w 69"/>
                <a:gd name="T23" fmla="*/ 8379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4" name="Freeform 35">
              <a:extLst>
                <a:ext uri="{FF2B5EF4-FFF2-40B4-BE49-F238E27FC236}">
                  <a16:creationId xmlns:a16="http://schemas.microsoft.com/office/drawing/2014/main" id="{AE64B1E4-9EBD-46CA-B415-5DE14A712CA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076325" y="2574926"/>
              <a:ext cx="812800" cy="773113"/>
            </a:xfrm>
            <a:custGeom>
              <a:avLst/>
              <a:gdLst>
                <a:gd name="T0" fmla="*/ 203399 w 1023"/>
                <a:gd name="T1" fmla="*/ 187133 h 975"/>
                <a:gd name="T2" fmla="*/ 193070 w 1023"/>
                <a:gd name="T3" fmla="*/ 171274 h 975"/>
                <a:gd name="T4" fmla="*/ 178768 w 1023"/>
                <a:gd name="T5" fmla="*/ 152244 h 975"/>
                <a:gd name="T6" fmla="*/ 168439 w 1023"/>
                <a:gd name="T7" fmla="*/ 145107 h 975"/>
                <a:gd name="T8" fmla="*/ 154933 w 1023"/>
                <a:gd name="T9" fmla="*/ 139557 h 975"/>
                <a:gd name="T10" fmla="*/ 144604 w 1023"/>
                <a:gd name="T11" fmla="*/ 139557 h 975"/>
                <a:gd name="T12" fmla="*/ 144604 w 1023"/>
                <a:gd name="T13" fmla="*/ 25374 h 975"/>
                <a:gd name="T14" fmla="*/ 123946 w 1023"/>
                <a:gd name="T15" fmla="*/ 22202 h 975"/>
                <a:gd name="T16" fmla="*/ 110439 w 1023"/>
                <a:gd name="T17" fmla="*/ 19030 h 975"/>
                <a:gd name="T18" fmla="*/ 86603 w 1023"/>
                <a:gd name="T19" fmla="*/ 12687 h 975"/>
                <a:gd name="T20" fmla="*/ 72302 w 1023"/>
                <a:gd name="T21" fmla="*/ 6343 h 975"/>
                <a:gd name="T22" fmla="*/ 62768 w 1023"/>
                <a:gd name="T23" fmla="*/ 0 h 975"/>
                <a:gd name="T24" fmla="*/ 48466 w 1023"/>
                <a:gd name="T25" fmla="*/ 9515 h 975"/>
                <a:gd name="T26" fmla="*/ 34959 w 1023"/>
                <a:gd name="T27" fmla="*/ 15859 h 975"/>
                <a:gd name="T28" fmla="*/ 24630 w 1023"/>
                <a:gd name="T29" fmla="*/ 34889 h 975"/>
                <a:gd name="T30" fmla="*/ 7151 w 1023"/>
                <a:gd name="T31" fmla="*/ 44404 h 975"/>
                <a:gd name="T32" fmla="*/ 24630 w 1023"/>
                <a:gd name="T33" fmla="*/ 60263 h 975"/>
                <a:gd name="T34" fmla="*/ 31781 w 1023"/>
                <a:gd name="T35" fmla="*/ 72950 h 975"/>
                <a:gd name="T36" fmla="*/ 20658 w 1023"/>
                <a:gd name="T37" fmla="*/ 66607 h 975"/>
                <a:gd name="T38" fmla="*/ 3973 w 1023"/>
                <a:gd name="T39" fmla="*/ 72950 h 975"/>
                <a:gd name="T40" fmla="*/ 7151 w 1023"/>
                <a:gd name="T41" fmla="*/ 82465 h 975"/>
                <a:gd name="T42" fmla="*/ 7151 w 1023"/>
                <a:gd name="T43" fmla="*/ 88809 h 975"/>
                <a:gd name="T44" fmla="*/ 20658 w 1023"/>
                <a:gd name="T45" fmla="*/ 91981 h 975"/>
                <a:gd name="T46" fmla="*/ 34959 w 1023"/>
                <a:gd name="T47" fmla="*/ 88809 h 975"/>
                <a:gd name="T48" fmla="*/ 38137 w 1023"/>
                <a:gd name="T49" fmla="*/ 97531 h 975"/>
                <a:gd name="T50" fmla="*/ 27808 w 1023"/>
                <a:gd name="T51" fmla="*/ 104668 h 975"/>
                <a:gd name="T52" fmla="*/ 20658 w 1023"/>
                <a:gd name="T53" fmla="*/ 107046 h 975"/>
                <a:gd name="T54" fmla="*/ 10329 w 1023"/>
                <a:gd name="T55" fmla="*/ 123698 h 975"/>
                <a:gd name="T56" fmla="*/ 24630 w 1023"/>
                <a:gd name="T57" fmla="*/ 142729 h 975"/>
                <a:gd name="T58" fmla="*/ 31781 w 1023"/>
                <a:gd name="T59" fmla="*/ 145107 h 975"/>
                <a:gd name="T60" fmla="*/ 34959 w 1023"/>
                <a:gd name="T61" fmla="*/ 152244 h 975"/>
                <a:gd name="T62" fmla="*/ 48466 w 1023"/>
                <a:gd name="T63" fmla="*/ 154623 h 975"/>
                <a:gd name="T64" fmla="*/ 55617 w 1023"/>
                <a:gd name="T65" fmla="*/ 152244 h 975"/>
                <a:gd name="T66" fmla="*/ 55617 w 1023"/>
                <a:gd name="T67" fmla="*/ 164138 h 975"/>
                <a:gd name="T68" fmla="*/ 27808 w 1023"/>
                <a:gd name="T69" fmla="*/ 180790 h 975"/>
                <a:gd name="T70" fmla="*/ 14301 w 1023"/>
                <a:gd name="T71" fmla="*/ 190305 h 975"/>
                <a:gd name="T72" fmla="*/ 34959 w 1023"/>
                <a:gd name="T73" fmla="*/ 183168 h 975"/>
                <a:gd name="T74" fmla="*/ 52439 w 1023"/>
                <a:gd name="T75" fmla="*/ 173653 h 975"/>
                <a:gd name="T76" fmla="*/ 76274 w 1023"/>
                <a:gd name="T77" fmla="*/ 154623 h 975"/>
                <a:gd name="T78" fmla="*/ 72302 w 1023"/>
                <a:gd name="T79" fmla="*/ 149072 h 975"/>
                <a:gd name="T80" fmla="*/ 82631 w 1023"/>
                <a:gd name="T81" fmla="*/ 139557 h 975"/>
                <a:gd name="T82" fmla="*/ 92960 w 1023"/>
                <a:gd name="T83" fmla="*/ 126077 h 975"/>
                <a:gd name="T84" fmla="*/ 92960 w 1023"/>
                <a:gd name="T85" fmla="*/ 130042 h 975"/>
                <a:gd name="T86" fmla="*/ 86603 w 1023"/>
                <a:gd name="T87" fmla="*/ 142729 h 975"/>
                <a:gd name="T88" fmla="*/ 86603 w 1023"/>
                <a:gd name="T89" fmla="*/ 149072 h 975"/>
                <a:gd name="T90" fmla="*/ 100110 w 1023"/>
                <a:gd name="T91" fmla="*/ 142729 h 975"/>
                <a:gd name="T92" fmla="*/ 107261 w 1023"/>
                <a:gd name="T93" fmla="*/ 135592 h 975"/>
                <a:gd name="T94" fmla="*/ 113617 w 1023"/>
                <a:gd name="T95" fmla="*/ 133213 h 975"/>
                <a:gd name="T96" fmla="*/ 138248 w 1023"/>
                <a:gd name="T97" fmla="*/ 139557 h 975"/>
                <a:gd name="T98" fmla="*/ 151754 w 1023"/>
                <a:gd name="T99" fmla="*/ 142729 h 975"/>
                <a:gd name="T100" fmla="*/ 168439 w 1023"/>
                <a:gd name="T101" fmla="*/ 158587 h 975"/>
                <a:gd name="T102" fmla="*/ 175590 w 1023"/>
                <a:gd name="T103" fmla="*/ 161759 h 975"/>
                <a:gd name="T104" fmla="*/ 175590 w 1023"/>
                <a:gd name="T105" fmla="*/ 158587 h 975"/>
                <a:gd name="T106" fmla="*/ 178768 w 1023"/>
                <a:gd name="T107" fmla="*/ 168103 h 975"/>
                <a:gd name="T108" fmla="*/ 189097 w 1023"/>
                <a:gd name="T109" fmla="*/ 171274 h 975"/>
                <a:gd name="T110" fmla="*/ 182741 w 1023"/>
                <a:gd name="T111" fmla="*/ 171274 h 975"/>
                <a:gd name="T112" fmla="*/ 185919 w 1023"/>
                <a:gd name="T113" fmla="*/ 173653 h 975"/>
                <a:gd name="T114" fmla="*/ 193070 w 1023"/>
                <a:gd name="T115" fmla="*/ 190305 h 975"/>
                <a:gd name="T116" fmla="*/ 189097 w 1023"/>
                <a:gd name="T117" fmla="*/ 177618 h 975"/>
                <a:gd name="T118" fmla="*/ 193070 w 1023"/>
                <a:gd name="T119" fmla="*/ 180790 h 975"/>
                <a:gd name="T120" fmla="*/ 200221 w 1023"/>
                <a:gd name="T121" fmla="*/ 190305 h 9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3"/>
                <a:gd name="T184" fmla="*/ 0 h 975"/>
                <a:gd name="T185" fmla="*/ 1023 w 1023"/>
                <a:gd name="T186" fmla="*/ 975 h 9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3" h="975">
                  <a:moveTo>
                    <a:pt x="1023" y="945"/>
                  </a:moveTo>
                  <a:lnTo>
                    <a:pt x="1023" y="945"/>
                  </a:lnTo>
                  <a:lnTo>
                    <a:pt x="1023" y="897"/>
                  </a:lnTo>
                  <a:lnTo>
                    <a:pt x="971" y="864"/>
                  </a:lnTo>
                  <a:lnTo>
                    <a:pt x="917" y="768"/>
                  </a:lnTo>
                  <a:lnTo>
                    <a:pt x="900" y="768"/>
                  </a:lnTo>
                  <a:lnTo>
                    <a:pt x="883" y="720"/>
                  </a:lnTo>
                  <a:lnTo>
                    <a:pt x="848" y="735"/>
                  </a:lnTo>
                  <a:lnTo>
                    <a:pt x="831" y="753"/>
                  </a:lnTo>
                  <a:lnTo>
                    <a:pt x="779" y="705"/>
                  </a:lnTo>
                  <a:lnTo>
                    <a:pt x="779" y="687"/>
                  </a:lnTo>
                  <a:lnTo>
                    <a:pt x="727" y="705"/>
                  </a:lnTo>
                  <a:lnTo>
                    <a:pt x="727" y="687"/>
                  </a:lnTo>
                  <a:lnTo>
                    <a:pt x="727" y="129"/>
                  </a:lnTo>
                  <a:lnTo>
                    <a:pt x="675" y="96"/>
                  </a:lnTo>
                  <a:lnTo>
                    <a:pt x="624" y="112"/>
                  </a:lnTo>
                  <a:lnTo>
                    <a:pt x="589" y="96"/>
                  </a:lnTo>
                  <a:lnTo>
                    <a:pt x="555" y="96"/>
                  </a:lnTo>
                  <a:lnTo>
                    <a:pt x="503" y="64"/>
                  </a:lnTo>
                  <a:lnTo>
                    <a:pt x="434" y="64"/>
                  </a:lnTo>
                  <a:lnTo>
                    <a:pt x="416" y="33"/>
                  </a:lnTo>
                  <a:lnTo>
                    <a:pt x="364" y="33"/>
                  </a:lnTo>
                  <a:lnTo>
                    <a:pt x="347" y="16"/>
                  </a:lnTo>
                  <a:lnTo>
                    <a:pt x="313" y="0"/>
                  </a:lnTo>
                  <a:lnTo>
                    <a:pt x="278" y="33"/>
                  </a:lnTo>
                  <a:lnTo>
                    <a:pt x="244" y="48"/>
                  </a:lnTo>
                  <a:lnTo>
                    <a:pt x="192" y="81"/>
                  </a:lnTo>
                  <a:lnTo>
                    <a:pt x="174" y="81"/>
                  </a:lnTo>
                  <a:lnTo>
                    <a:pt x="140" y="112"/>
                  </a:lnTo>
                  <a:lnTo>
                    <a:pt x="123" y="177"/>
                  </a:lnTo>
                  <a:lnTo>
                    <a:pt x="52" y="192"/>
                  </a:lnTo>
                  <a:lnTo>
                    <a:pt x="34" y="225"/>
                  </a:lnTo>
                  <a:lnTo>
                    <a:pt x="103" y="273"/>
                  </a:lnTo>
                  <a:lnTo>
                    <a:pt x="123" y="304"/>
                  </a:lnTo>
                  <a:lnTo>
                    <a:pt x="157" y="352"/>
                  </a:lnTo>
                  <a:lnTo>
                    <a:pt x="157" y="369"/>
                  </a:lnTo>
                  <a:lnTo>
                    <a:pt x="103" y="369"/>
                  </a:lnTo>
                  <a:lnTo>
                    <a:pt x="103" y="336"/>
                  </a:lnTo>
                  <a:lnTo>
                    <a:pt x="86" y="336"/>
                  </a:lnTo>
                  <a:lnTo>
                    <a:pt x="17" y="369"/>
                  </a:lnTo>
                  <a:lnTo>
                    <a:pt x="0" y="400"/>
                  </a:lnTo>
                  <a:lnTo>
                    <a:pt x="34" y="417"/>
                  </a:lnTo>
                  <a:lnTo>
                    <a:pt x="34" y="432"/>
                  </a:lnTo>
                  <a:lnTo>
                    <a:pt x="34" y="448"/>
                  </a:lnTo>
                  <a:lnTo>
                    <a:pt x="69" y="465"/>
                  </a:lnTo>
                  <a:lnTo>
                    <a:pt x="103" y="465"/>
                  </a:lnTo>
                  <a:lnTo>
                    <a:pt x="140" y="465"/>
                  </a:lnTo>
                  <a:lnTo>
                    <a:pt x="174" y="448"/>
                  </a:lnTo>
                  <a:lnTo>
                    <a:pt x="174" y="465"/>
                  </a:lnTo>
                  <a:lnTo>
                    <a:pt x="192" y="495"/>
                  </a:lnTo>
                  <a:lnTo>
                    <a:pt x="174" y="528"/>
                  </a:lnTo>
                  <a:lnTo>
                    <a:pt x="140" y="528"/>
                  </a:lnTo>
                  <a:lnTo>
                    <a:pt x="123" y="543"/>
                  </a:lnTo>
                  <a:lnTo>
                    <a:pt x="103" y="543"/>
                  </a:lnTo>
                  <a:lnTo>
                    <a:pt x="86" y="543"/>
                  </a:lnTo>
                  <a:lnTo>
                    <a:pt x="52" y="624"/>
                  </a:lnTo>
                  <a:lnTo>
                    <a:pt x="103" y="720"/>
                  </a:lnTo>
                  <a:lnTo>
                    <a:pt x="123" y="720"/>
                  </a:lnTo>
                  <a:lnTo>
                    <a:pt x="157" y="705"/>
                  </a:lnTo>
                  <a:lnTo>
                    <a:pt x="157" y="735"/>
                  </a:lnTo>
                  <a:lnTo>
                    <a:pt x="157" y="753"/>
                  </a:lnTo>
                  <a:lnTo>
                    <a:pt x="174" y="768"/>
                  </a:lnTo>
                  <a:lnTo>
                    <a:pt x="226" y="768"/>
                  </a:lnTo>
                  <a:lnTo>
                    <a:pt x="244" y="783"/>
                  </a:lnTo>
                  <a:lnTo>
                    <a:pt x="244" y="768"/>
                  </a:lnTo>
                  <a:lnTo>
                    <a:pt x="278" y="768"/>
                  </a:lnTo>
                  <a:lnTo>
                    <a:pt x="278" y="801"/>
                  </a:lnTo>
                  <a:lnTo>
                    <a:pt x="278" y="831"/>
                  </a:lnTo>
                  <a:lnTo>
                    <a:pt x="192" y="897"/>
                  </a:lnTo>
                  <a:lnTo>
                    <a:pt x="140" y="912"/>
                  </a:lnTo>
                  <a:lnTo>
                    <a:pt x="123" y="927"/>
                  </a:lnTo>
                  <a:lnTo>
                    <a:pt x="69" y="960"/>
                  </a:lnTo>
                  <a:lnTo>
                    <a:pt x="86" y="975"/>
                  </a:lnTo>
                  <a:lnTo>
                    <a:pt x="174" y="927"/>
                  </a:lnTo>
                  <a:lnTo>
                    <a:pt x="244" y="897"/>
                  </a:lnTo>
                  <a:lnTo>
                    <a:pt x="261" y="879"/>
                  </a:lnTo>
                  <a:lnTo>
                    <a:pt x="295" y="849"/>
                  </a:lnTo>
                  <a:lnTo>
                    <a:pt x="382" y="783"/>
                  </a:lnTo>
                  <a:lnTo>
                    <a:pt x="399" y="768"/>
                  </a:lnTo>
                  <a:lnTo>
                    <a:pt x="364" y="753"/>
                  </a:lnTo>
                  <a:lnTo>
                    <a:pt x="382" y="735"/>
                  </a:lnTo>
                  <a:lnTo>
                    <a:pt x="416" y="705"/>
                  </a:lnTo>
                  <a:lnTo>
                    <a:pt x="416" y="672"/>
                  </a:lnTo>
                  <a:lnTo>
                    <a:pt x="468" y="639"/>
                  </a:lnTo>
                  <a:lnTo>
                    <a:pt x="485" y="639"/>
                  </a:lnTo>
                  <a:lnTo>
                    <a:pt x="468" y="657"/>
                  </a:lnTo>
                  <a:lnTo>
                    <a:pt x="451" y="672"/>
                  </a:lnTo>
                  <a:lnTo>
                    <a:pt x="434" y="720"/>
                  </a:lnTo>
                  <a:lnTo>
                    <a:pt x="451" y="735"/>
                  </a:lnTo>
                  <a:lnTo>
                    <a:pt x="434" y="753"/>
                  </a:lnTo>
                  <a:lnTo>
                    <a:pt x="451" y="753"/>
                  </a:lnTo>
                  <a:lnTo>
                    <a:pt x="503" y="720"/>
                  </a:lnTo>
                  <a:lnTo>
                    <a:pt x="520" y="720"/>
                  </a:lnTo>
                  <a:lnTo>
                    <a:pt x="537" y="687"/>
                  </a:lnTo>
                  <a:lnTo>
                    <a:pt x="520" y="657"/>
                  </a:lnTo>
                  <a:lnTo>
                    <a:pt x="572" y="672"/>
                  </a:lnTo>
                  <a:lnTo>
                    <a:pt x="641" y="705"/>
                  </a:lnTo>
                  <a:lnTo>
                    <a:pt x="693" y="705"/>
                  </a:lnTo>
                  <a:lnTo>
                    <a:pt x="745" y="720"/>
                  </a:lnTo>
                  <a:lnTo>
                    <a:pt x="762" y="720"/>
                  </a:lnTo>
                  <a:lnTo>
                    <a:pt x="762" y="735"/>
                  </a:lnTo>
                  <a:lnTo>
                    <a:pt x="848" y="801"/>
                  </a:lnTo>
                  <a:lnTo>
                    <a:pt x="900" y="897"/>
                  </a:lnTo>
                  <a:lnTo>
                    <a:pt x="883" y="816"/>
                  </a:lnTo>
                  <a:lnTo>
                    <a:pt x="866" y="801"/>
                  </a:lnTo>
                  <a:lnTo>
                    <a:pt x="883" y="801"/>
                  </a:lnTo>
                  <a:lnTo>
                    <a:pt x="883" y="768"/>
                  </a:lnTo>
                  <a:lnTo>
                    <a:pt x="900" y="849"/>
                  </a:lnTo>
                  <a:lnTo>
                    <a:pt x="917" y="831"/>
                  </a:lnTo>
                  <a:lnTo>
                    <a:pt x="952" y="864"/>
                  </a:lnTo>
                  <a:lnTo>
                    <a:pt x="917" y="849"/>
                  </a:lnTo>
                  <a:lnTo>
                    <a:pt x="917" y="864"/>
                  </a:lnTo>
                  <a:lnTo>
                    <a:pt x="917" y="897"/>
                  </a:lnTo>
                  <a:lnTo>
                    <a:pt x="935" y="879"/>
                  </a:lnTo>
                  <a:lnTo>
                    <a:pt x="935" y="912"/>
                  </a:lnTo>
                  <a:lnTo>
                    <a:pt x="971" y="960"/>
                  </a:lnTo>
                  <a:lnTo>
                    <a:pt x="971" y="927"/>
                  </a:lnTo>
                  <a:lnTo>
                    <a:pt x="952" y="897"/>
                  </a:lnTo>
                  <a:lnTo>
                    <a:pt x="971" y="897"/>
                  </a:lnTo>
                  <a:lnTo>
                    <a:pt x="971" y="912"/>
                  </a:lnTo>
                  <a:lnTo>
                    <a:pt x="988" y="945"/>
                  </a:lnTo>
                  <a:lnTo>
                    <a:pt x="1006" y="960"/>
                  </a:lnTo>
                  <a:lnTo>
                    <a:pt x="1023" y="94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5" name="Freeform 36">
              <a:extLst>
                <a:ext uri="{FF2B5EF4-FFF2-40B4-BE49-F238E27FC236}">
                  <a16:creationId xmlns:a16="http://schemas.microsoft.com/office/drawing/2014/main" id="{66A90898-9EFF-4530-B6A1-6E51043121C9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974975" y="3271838"/>
              <a:ext cx="28575" cy="25400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8404 w 34"/>
                <a:gd name="T5" fmla="*/ 6158 h 33"/>
                <a:gd name="T6" fmla="*/ 8404 w 34"/>
                <a:gd name="T7" fmla="*/ 0 h 33"/>
                <a:gd name="T8" fmla="*/ 0 w 34"/>
                <a:gd name="T9" fmla="*/ 3079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6" name="Freeform 37">
              <a:extLst>
                <a:ext uri="{FF2B5EF4-FFF2-40B4-BE49-F238E27FC236}">
                  <a16:creationId xmlns:a16="http://schemas.microsoft.com/office/drawing/2014/main" id="{B6CFA33B-A453-42A2-8474-45C53015883E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933700" y="3386138"/>
              <a:ext cx="28575" cy="14288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8404 w 34"/>
                <a:gd name="T5" fmla="*/ 4202 h 17"/>
                <a:gd name="T6" fmla="*/ 8404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7" name="Freeform 38">
              <a:extLst>
                <a:ext uri="{FF2B5EF4-FFF2-40B4-BE49-F238E27FC236}">
                  <a16:creationId xmlns:a16="http://schemas.microsoft.com/office/drawing/2014/main" id="{AF211B1F-F4B7-4F8F-AADE-569E211C6E3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076325" y="3119438"/>
              <a:ext cx="41275" cy="25400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7144 w 52"/>
                <a:gd name="T5" fmla="*/ 6158 h 33"/>
                <a:gd name="T6" fmla="*/ 10319 w 52"/>
                <a:gd name="T7" fmla="*/ 3079 h 33"/>
                <a:gd name="T8" fmla="*/ 7144 w 52"/>
                <a:gd name="T9" fmla="*/ 0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52" y="18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8" name="Freeform 39">
              <a:extLst>
                <a:ext uri="{FF2B5EF4-FFF2-40B4-BE49-F238E27FC236}">
                  <a16:creationId xmlns:a16="http://schemas.microsoft.com/office/drawing/2014/main" id="{9CE3BF4B-8B95-405D-8CE8-D298A50004C5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352550" y="3195638"/>
              <a:ext cx="68263" cy="63500"/>
            </a:xfrm>
            <a:custGeom>
              <a:avLst/>
              <a:gdLst>
                <a:gd name="T0" fmla="*/ 0 w 87"/>
                <a:gd name="T1" fmla="*/ 12543 h 81"/>
                <a:gd name="T2" fmla="*/ 0 w 87"/>
                <a:gd name="T3" fmla="*/ 12543 h 81"/>
                <a:gd name="T4" fmla="*/ 3139 w 87"/>
                <a:gd name="T5" fmla="*/ 15679 h 81"/>
                <a:gd name="T6" fmla="*/ 10200 w 87"/>
                <a:gd name="T7" fmla="*/ 9407 h 81"/>
                <a:gd name="T8" fmla="*/ 13339 w 87"/>
                <a:gd name="T9" fmla="*/ 9407 h 81"/>
                <a:gd name="T10" fmla="*/ 13339 w 87"/>
                <a:gd name="T11" fmla="*/ 6272 h 81"/>
                <a:gd name="T12" fmla="*/ 10200 w 87"/>
                <a:gd name="T13" fmla="*/ 6272 h 81"/>
                <a:gd name="T14" fmla="*/ 16477 w 87"/>
                <a:gd name="T15" fmla="*/ 3136 h 81"/>
                <a:gd name="T16" fmla="*/ 13339 w 87"/>
                <a:gd name="T17" fmla="*/ 0 h 81"/>
                <a:gd name="T18" fmla="*/ 0 w 87"/>
                <a:gd name="T19" fmla="*/ 12543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81"/>
                <a:gd name="T32" fmla="*/ 87 w 8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81">
                  <a:moveTo>
                    <a:pt x="0" y="66"/>
                  </a:moveTo>
                  <a:lnTo>
                    <a:pt x="0" y="66"/>
                  </a:lnTo>
                  <a:lnTo>
                    <a:pt x="17" y="81"/>
                  </a:lnTo>
                  <a:lnTo>
                    <a:pt x="52" y="48"/>
                  </a:lnTo>
                  <a:lnTo>
                    <a:pt x="69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87" y="18"/>
                  </a:lnTo>
                  <a:lnTo>
                    <a:pt x="69" y="0"/>
                  </a:lnTo>
                  <a:lnTo>
                    <a:pt x="0" y="6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79" name="Freeform 40">
              <a:extLst>
                <a:ext uri="{FF2B5EF4-FFF2-40B4-BE49-F238E27FC236}">
                  <a16:creationId xmlns:a16="http://schemas.microsoft.com/office/drawing/2014/main" id="{571AA7C1-7727-4E75-A22C-D6846062AB49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831975" y="3348038"/>
              <a:ext cx="42863" cy="76200"/>
            </a:xfrm>
            <a:custGeom>
              <a:avLst/>
              <a:gdLst>
                <a:gd name="T0" fmla="*/ 0 w 54"/>
                <a:gd name="T1" fmla="*/ 0 h 96"/>
                <a:gd name="T2" fmla="*/ 0 w 54"/>
                <a:gd name="T3" fmla="*/ 0 h 96"/>
                <a:gd name="T4" fmla="*/ 0 w 54"/>
                <a:gd name="T5" fmla="*/ 7144 h 96"/>
                <a:gd name="T6" fmla="*/ 3969 w 54"/>
                <a:gd name="T7" fmla="*/ 16669 h 96"/>
                <a:gd name="T8" fmla="*/ 11113 w 54"/>
                <a:gd name="T9" fmla="*/ 19050 h 96"/>
                <a:gd name="T10" fmla="*/ 3969 w 54"/>
                <a:gd name="T11" fmla="*/ 13494 h 96"/>
                <a:gd name="T12" fmla="*/ 7144 w 54"/>
                <a:gd name="T13" fmla="*/ 9525 h 96"/>
                <a:gd name="T14" fmla="*/ 3969 w 54"/>
                <a:gd name="T15" fmla="*/ 7144 h 96"/>
                <a:gd name="T16" fmla="*/ 7144 w 54"/>
                <a:gd name="T17" fmla="*/ 0 h 96"/>
                <a:gd name="T18" fmla="*/ 0 w 54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96"/>
                <a:gd name="T32" fmla="*/ 54 w 54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96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9" y="81"/>
                  </a:lnTo>
                  <a:lnTo>
                    <a:pt x="54" y="96"/>
                  </a:lnTo>
                  <a:lnTo>
                    <a:pt x="19" y="65"/>
                  </a:lnTo>
                  <a:lnTo>
                    <a:pt x="36" y="48"/>
                  </a:lnTo>
                  <a:lnTo>
                    <a:pt x="19" y="33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0" name="Freeform 41">
              <a:extLst>
                <a:ext uri="{FF2B5EF4-FFF2-40B4-BE49-F238E27FC236}">
                  <a16:creationId xmlns:a16="http://schemas.microsoft.com/office/drawing/2014/main" id="{2F7E0F92-BE35-4A53-A660-29D3590DFE67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1930400" y="3462338"/>
              <a:ext cx="111125" cy="76200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3175 w 140"/>
                <a:gd name="T5" fmla="*/ 7144 h 96"/>
                <a:gd name="T6" fmla="*/ 10319 w 140"/>
                <a:gd name="T7" fmla="*/ 9525 h 96"/>
                <a:gd name="T8" fmla="*/ 16669 w 140"/>
                <a:gd name="T9" fmla="*/ 13494 h 96"/>
                <a:gd name="T10" fmla="*/ 16669 w 140"/>
                <a:gd name="T11" fmla="*/ 16669 h 96"/>
                <a:gd name="T12" fmla="*/ 23812 w 140"/>
                <a:gd name="T13" fmla="*/ 19050 h 96"/>
                <a:gd name="T14" fmla="*/ 27781 w 140"/>
                <a:gd name="T15" fmla="*/ 19050 h 96"/>
                <a:gd name="T16" fmla="*/ 14287 w 140"/>
                <a:gd name="T17" fmla="*/ 3969 h 96"/>
                <a:gd name="T18" fmla="*/ 3175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1" name="Line 42">
              <a:extLst>
                <a:ext uri="{FF2B5EF4-FFF2-40B4-BE49-F238E27FC236}">
                  <a16:creationId xmlns:a16="http://schemas.microsoft.com/office/drawing/2014/main" id="{9D69B595-8086-40DE-A8CF-7500737DCB12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V="1">
              <a:off x="1057275" y="3379788"/>
              <a:ext cx="14288" cy="508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2" name="Freeform 43">
              <a:extLst>
                <a:ext uri="{FF2B5EF4-FFF2-40B4-BE49-F238E27FC236}">
                  <a16:creationId xmlns:a16="http://schemas.microsoft.com/office/drawing/2014/main" id="{7AA9264B-BCE1-4910-8097-23665A345B24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076325" y="3362326"/>
              <a:ext cx="28575" cy="11113"/>
            </a:xfrm>
            <a:custGeom>
              <a:avLst/>
              <a:gdLst>
                <a:gd name="T0" fmla="*/ 0 w 34"/>
                <a:gd name="T1" fmla="*/ 2084 h 16"/>
                <a:gd name="T2" fmla="*/ 0 w 34"/>
                <a:gd name="T3" fmla="*/ 2084 h 16"/>
                <a:gd name="T4" fmla="*/ 8404 w 34"/>
                <a:gd name="T5" fmla="*/ 2084 h 16"/>
                <a:gd name="T6" fmla="*/ 8404 w 34"/>
                <a:gd name="T7" fmla="*/ 0 h 16"/>
                <a:gd name="T8" fmla="*/ 4202 w 34"/>
                <a:gd name="T9" fmla="*/ 0 h 16"/>
                <a:gd name="T10" fmla="*/ 4202 w 34"/>
                <a:gd name="T11" fmla="*/ 2084 h 16"/>
                <a:gd name="T12" fmla="*/ 0 w 34"/>
                <a:gd name="T13" fmla="*/ 2084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6"/>
                <a:gd name="T23" fmla="*/ 34 w 3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6">
                  <a:moveTo>
                    <a:pt x="0" y="16"/>
                  </a:moveTo>
                  <a:lnTo>
                    <a:pt x="0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3" name="Freeform 44">
              <a:extLst>
                <a:ext uri="{FF2B5EF4-FFF2-40B4-BE49-F238E27FC236}">
                  <a16:creationId xmlns:a16="http://schemas.microsoft.com/office/drawing/2014/main" id="{A52DD079-A24B-4C50-A05B-54F6935A63CA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655763" y="2555876"/>
              <a:ext cx="1855788" cy="1173163"/>
            </a:xfrm>
            <a:custGeom>
              <a:avLst/>
              <a:gdLst>
                <a:gd name="T0" fmla="*/ 336550 w 2338"/>
                <a:gd name="T1" fmla="*/ 284163 h 1478"/>
                <a:gd name="T2" fmla="*/ 319088 w 2338"/>
                <a:gd name="T3" fmla="*/ 284163 h 1478"/>
                <a:gd name="T4" fmla="*/ 329406 w 2338"/>
                <a:gd name="T5" fmla="*/ 274638 h 1478"/>
                <a:gd name="T6" fmla="*/ 305594 w 2338"/>
                <a:gd name="T7" fmla="*/ 258763 h 1478"/>
                <a:gd name="T8" fmla="*/ 288131 w 2338"/>
                <a:gd name="T9" fmla="*/ 239713 h 1478"/>
                <a:gd name="T10" fmla="*/ 254000 w 2338"/>
                <a:gd name="T11" fmla="*/ 242888 h 1478"/>
                <a:gd name="T12" fmla="*/ 96044 w 2338"/>
                <a:gd name="T13" fmla="*/ 239713 h 1478"/>
                <a:gd name="T14" fmla="*/ 71438 w 2338"/>
                <a:gd name="T15" fmla="*/ 223838 h 1478"/>
                <a:gd name="T16" fmla="*/ 57944 w 2338"/>
                <a:gd name="T17" fmla="*/ 197644 h 1478"/>
                <a:gd name="T18" fmla="*/ 37306 w 2338"/>
                <a:gd name="T19" fmla="*/ 156369 h 1478"/>
                <a:gd name="T20" fmla="*/ 20638 w 2338"/>
                <a:gd name="T21" fmla="*/ 153988 h 1478"/>
                <a:gd name="T22" fmla="*/ 0 w 2338"/>
                <a:gd name="T23" fmla="*/ 141288 h 1478"/>
                <a:gd name="T24" fmla="*/ 27781 w 2338"/>
                <a:gd name="T25" fmla="*/ 36513 h 1478"/>
                <a:gd name="T26" fmla="*/ 61119 w 2338"/>
                <a:gd name="T27" fmla="*/ 20638 h 1478"/>
                <a:gd name="T28" fmla="*/ 78581 w 2338"/>
                <a:gd name="T29" fmla="*/ 23019 h 1478"/>
                <a:gd name="T30" fmla="*/ 88900 w 2338"/>
                <a:gd name="T31" fmla="*/ 33338 h 1478"/>
                <a:gd name="T32" fmla="*/ 113506 w 2338"/>
                <a:gd name="T33" fmla="*/ 33338 h 1478"/>
                <a:gd name="T34" fmla="*/ 144463 w 2338"/>
                <a:gd name="T35" fmla="*/ 42069 h 1478"/>
                <a:gd name="T36" fmla="*/ 150813 w 2338"/>
                <a:gd name="T37" fmla="*/ 58738 h 1478"/>
                <a:gd name="T38" fmla="*/ 174625 w 2338"/>
                <a:gd name="T39" fmla="*/ 49213 h 1478"/>
                <a:gd name="T40" fmla="*/ 213519 w 2338"/>
                <a:gd name="T41" fmla="*/ 55563 h 1478"/>
                <a:gd name="T42" fmla="*/ 233363 w 2338"/>
                <a:gd name="T43" fmla="*/ 45244 h 1478"/>
                <a:gd name="T44" fmla="*/ 240506 w 2338"/>
                <a:gd name="T45" fmla="*/ 36513 h 1478"/>
                <a:gd name="T46" fmla="*/ 243681 w 2338"/>
                <a:gd name="T47" fmla="*/ 58738 h 1478"/>
                <a:gd name="T48" fmla="*/ 254000 w 2338"/>
                <a:gd name="T49" fmla="*/ 33338 h 1478"/>
                <a:gd name="T50" fmla="*/ 254000 w 2338"/>
                <a:gd name="T51" fmla="*/ 0 h 1478"/>
                <a:gd name="T52" fmla="*/ 278606 w 2338"/>
                <a:gd name="T53" fmla="*/ 45244 h 1478"/>
                <a:gd name="T54" fmla="*/ 292100 w 2338"/>
                <a:gd name="T55" fmla="*/ 61913 h 1478"/>
                <a:gd name="T56" fmla="*/ 302419 w 2338"/>
                <a:gd name="T57" fmla="*/ 26988 h 1478"/>
                <a:gd name="T58" fmla="*/ 323056 w 2338"/>
                <a:gd name="T59" fmla="*/ 36513 h 1478"/>
                <a:gd name="T60" fmla="*/ 323056 w 2338"/>
                <a:gd name="T61" fmla="*/ 58738 h 1478"/>
                <a:gd name="T62" fmla="*/ 302419 w 2338"/>
                <a:gd name="T63" fmla="*/ 71438 h 1478"/>
                <a:gd name="T64" fmla="*/ 292100 w 2338"/>
                <a:gd name="T65" fmla="*/ 89694 h 1478"/>
                <a:gd name="T66" fmla="*/ 274638 w 2338"/>
                <a:gd name="T67" fmla="*/ 115888 h 1478"/>
                <a:gd name="T68" fmla="*/ 257969 w 2338"/>
                <a:gd name="T69" fmla="*/ 128588 h 1478"/>
                <a:gd name="T70" fmla="*/ 261144 w 2338"/>
                <a:gd name="T71" fmla="*/ 156369 h 1478"/>
                <a:gd name="T72" fmla="*/ 288131 w 2338"/>
                <a:gd name="T73" fmla="*/ 182563 h 1478"/>
                <a:gd name="T74" fmla="*/ 319088 w 2338"/>
                <a:gd name="T75" fmla="*/ 211138 h 1478"/>
                <a:gd name="T76" fmla="*/ 339725 w 2338"/>
                <a:gd name="T77" fmla="*/ 192088 h 1478"/>
                <a:gd name="T78" fmla="*/ 339725 w 2338"/>
                <a:gd name="T79" fmla="*/ 153988 h 1478"/>
                <a:gd name="T80" fmla="*/ 339725 w 2338"/>
                <a:gd name="T81" fmla="*/ 138113 h 1478"/>
                <a:gd name="T82" fmla="*/ 343694 w 2338"/>
                <a:gd name="T83" fmla="*/ 119063 h 1478"/>
                <a:gd name="T84" fmla="*/ 374650 w 2338"/>
                <a:gd name="T85" fmla="*/ 131763 h 1478"/>
                <a:gd name="T86" fmla="*/ 398463 w 2338"/>
                <a:gd name="T87" fmla="*/ 163513 h 1478"/>
                <a:gd name="T88" fmla="*/ 408781 w 2338"/>
                <a:gd name="T89" fmla="*/ 146844 h 1478"/>
                <a:gd name="T90" fmla="*/ 430213 w 2338"/>
                <a:gd name="T91" fmla="*/ 182563 h 1478"/>
                <a:gd name="T92" fmla="*/ 446881 w 2338"/>
                <a:gd name="T93" fmla="*/ 192088 h 1478"/>
                <a:gd name="T94" fmla="*/ 454025 w 2338"/>
                <a:gd name="T95" fmla="*/ 204788 h 1478"/>
                <a:gd name="T96" fmla="*/ 464344 w 2338"/>
                <a:gd name="T97" fmla="*/ 217488 h 1478"/>
                <a:gd name="T98" fmla="*/ 430213 w 2338"/>
                <a:gd name="T99" fmla="*/ 233363 h 1478"/>
                <a:gd name="T100" fmla="*/ 395288 w 2338"/>
                <a:gd name="T101" fmla="*/ 239713 h 1478"/>
                <a:gd name="T102" fmla="*/ 392113 w 2338"/>
                <a:gd name="T103" fmla="*/ 246063 h 1478"/>
                <a:gd name="T104" fmla="*/ 416719 w 2338"/>
                <a:gd name="T105" fmla="*/ 246063 h 1478"/>
                <a:gd name="T106" fmla="*/ 412750 w 2338"/>
                <a:gd name="T107" fmla="*/ 249238 h 1478"/>
                <a:gd name="T108" fmla="*/ 430213 w 2338"/>
                <a:gd name="T109" fmla="*/ 265113 h 1478"/>
                <a:gd name="T110" fmla="*/ 440531 w 2338"/>
                <a:gd name="T111" fmla="*/ 261938 h 1478"/>
                <a:gd name="T112" fmla="*/ 408781 w 2338"/>
                <a:gd name="T113" fmla="*/ 280988 h 1478"/>
                <a:gd name="T114" fmla="*/ 412750 w 2338"/>
                <a:gd name="T115" fmla="*/ 265113 h 1478"/>
                <a:gd name="T116" fmla="*/ 395288 w 2338"/>
                <a:gd name="T117" fmla="*/ 255588 h 1478"/>
                <a:gd name="T118" fmla="*/ 381794 w 2338"/>
                <a:gd name="T119" fmla="*/ 268288 h 1478"/>
                <a:gd name="T120" fmla="*/ 346869 w 2338"/>
                <a:gd name="T121" fmla="*/ 277813 h 14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38"/>
                <a:gd name="T184" fmla="*/ 0 h 1478"/>
                <a:gd name="T185" fmla="*/ 2338 w 2338"/>
                <a:gd name="T186" fmla="*/ 1478 h 14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38" h="1478">
                  <a:moveTo>
                    <a:pt x="1682" y="1415"/>
                  </a:moveTo>
                  <a:lnTo>
                    <a:pt x="1682" y="1415"/>
                  </a:lnTo>
                  <a:lnTo>
                    <a:pt x="1697" y="1415"/>
                  </a:lnTo>
                  <a:lnTo>
                    <a:pt x="1697" y="1430"/>
                  </a:lnTo>
                  <a:lnTo>
                    <a:pt x="1628" y="1447"/>
                  </a:lnTo>
                  <a:lnTo>
                    <a:pt x="1611" y="1463"/>
                  </a:lnTo>
                  <a:lnTo>
                    <a:pt x="1576" y="1478"/>
                  </a:lnTo>
                  <a:lnTo>
                    <a:pt x="1611" y="1430"/>
                  </a:lnTo>
                  <a:lnTo>
                    <a:pt x="1594" y="1430"/>
                  </a:lnTo>
                  <a:lnTo>
                    <a:pt x="1628" y="1415"/>
                  </a:lnTo>
                  <a:lnTo>
                    <a:pt x="1628" y="1351"/>
                  </a:lnTo>
                  <a:lnTo>
                    <a:pt x="1663" y="1382"/>
                  </a:lnTo>
                  <a:lnTo>
                    <a:pt x="1682" y="1367"/>
                  </a:lnTo>
                  <a:lnTo>
                    <a:pt x="1645" y="1334"/>
                  </a:lnTo>
                  <a:lnTo>
                    <a:pt x="1559" y="1319"/>
                  </a:lnTo>
                  <a:lnTo>
                    <a:pt x="1542" y="1303"/>
                  </a:lnTo>
                  <a:lnTo>
                    <a:pt x="1525" y="1255"/>
                  </a:lnTo>
                  <a:lnTo>
                    <a:pt x="1507" y="1255"/>
                  </a:lnTo>
                  <a:lnTo>
                    <a:pt x="1490" y="1223"/>
                  </a:lnTo>
                  <a:lnTo>
                    <a:pt x="1455" y="1207"/>
                  </a:lnTo>
                  <a:lnTo>
                    <a:pt x="1404" y="1255"/>
                  </a:lnTo>
                  <a:lnTo>
                    <a:pt x="1352" y="1255"/>
                  </a:lnTo>
                  <a:lnTo>
                    <a:pt x="1317" y="1223"/>
                  </a:lnTo>
                  <a:lnTo>
                    <a:pt x="1281" y="1223"/>
                  </a:lnTo>
                  <a:lnTo>
                    <a:pt x="1265" y="1190"/>
                  </a:lnTo>
                  <a:lnTo>
                    <a:pt x="1248" y="1207"/>
                  </a:lnTo>
                  <a:lnTo>
                    <a:pt x="501" y="1207"/>
                  </a:lnTo>
                  <a:lnTo>
                    <a:pt x="486" y="1207"/>
                  </a:lnTo>
                  <a:lnTo>
                    <a:pt x="486" y="1190"/>
                  </a:lnTo>
                  <a:lnTo>
                    <a:pt x="467" y="1190"/>
                  </a:lnTo>
                  <a:lnTo>
                    <a:pt x="415" y="1159"/>
                  </a:lnTo>
                  <a:lnTo>
                    <a:pt x="363" y="1127"/>
                  </a:lnTo>
                  <a:lnTo>
                    <a:pt x="346" y="1079"/>
                  </a:lnTo>
                  <a:lnTo>
                    <a:pt x="328" y="1063"/>
                  </a:lnTo>
                  <a:lnTo>
                    <a:pt x="277" y="1015"/>
                  </a:lnTo>
                  <a:lnTo>
                    <a:pt x="294" y="998"/>
                  </a:lnTo>
                  <a:lnTo>
                    <a:pt x="294" y="968"/>
                  </a:lnTo>
                  <a:lnTo>
                    <a:pt x="294" y="920"/>
                  </a:lnTo>
                  <a:lnTo>
                    <a:pt x="242" y="887"/>
                  </a:lnTo>
                  <a:lnTo>
                    <a:pt x="188" y="791"/>
                  </a:lnTo>
                  <a:lnTo>
                    <a:pt x="173" y="791"/>
                  </a:lnTo>
                  <a:lnTo>
                    <a:pt x="156" y="743"/>
                  </a:lnTo>
                  <a:lnTo>
                    <a:pt x="121" y="758"/>
                  </a:lnTo>
                  <a:lnTo>
                    <a:pt x="104" y="776"/>
                  </a:lnTo>
                  <a:lnTo>
                    <a:pt x="52" y="728"/>
                  </a:lnTo>
                  <a:lnTo>
                    <a:pt x="52" y="710"/>
                  </a:lnTo>
                  <a:lnTo>
                    <a:pt x="0" y="728"/>
                  </a:lnTo>
                  <a:lnTo>
                    <a:pt x="0" y="710"/>
                  </a:lnTo>
                  <a:lnTo>
                    <a:pt x="0" y="152"/>
                  </a:lnTo>
                  <a:lnTo>
                    <a:pt x="33" y="152"/>
                  </a:lnTo>
                  <a:lnTo>
                    <a:pt x="137" y="215"/>
                  </a:lnTo>
                  <a:lnTo>
                    <a:pt x="137" y="183"/>
                  </a:lnTo>
                  <a:lnTo>
                    <a:pt x="156" y="167"/>
                  </a:lnTo>
                  <a:lnTo>
                    <a:pt x="188" y="152"/>
                  </a:lnTo>
                  <a:lnTo>
                    <a:pt x="208" y="167"/>
                  </a:lnTo>
                  <a:lnTo>
                    <a:pt x="311" y="104"/>
                  </a:lnTo>
                  <a:lnTo>
                    <a:pt x="311" y="135"/>
                  </a:lnTo>
                  <a:lnTo>
                    <a:pt x="346" y="135"/>
                  </a:lnTo>
                  <a:lnTo>
                    <a:pt x="363" y="87"/>
                  </a:lnTo>
                  <a:lnTo>
                    <a:pt x="398" y="119"/>
                  </a:lnTo>
                  <a:lnTo>
                    <a:pt x="398" y="152"/>
                  </a:lnTo>
                  <a:lnTo>
                    <a:pt x="434" y="167"/>
                  </a:lnTo>
                  <a:lnTo>
                    <a:pt x="449" y="135"/>
                  </a:lnTo>
                  <a:lnTo>
                    <a:pt x="449" y="167"/>
                  </a:lnTo>
                  <a:lnTo>
                    <a:pt x="486" y="167"/>
                  </a:lnTo>
                  <a:lnTo>
                    <a:pt x="486" y="135"/>
                  </a:lnTo>
                  <a:lnTo>
                    <a:pt x="538" y="135"/>
                  </a:lnTo>
                  <a:lnTo>
                    <a:pt x="570" y="167"/>
                  </a:lnTo>
                  <a:lnTo>
                    <a:pt x="605" y="183"/>
                  </a:lnTo>
                  <a:lnTo>
                    <a:pt x="641" y="200"/>
                  </a:lnTo>
                  <a:lnTo>
                    <a:pt x="676" y="200"/>
                  </a:lnTo>
                  <a:lnTo>
                    <a:pt x="728" y="215"/>
                  </a:lnTo>
                  <a:lnTo>
                    <a:pt x="728" y="248"/>
                  </a:lnTo>
                  <a:lnTo>
                    <a:pt x="709" y="263"/>
                  </a:lnTo>
                  <a:lnTo>
                    <a:pt x="709" y="279"/>
                  </a:lnTo>
                  <a:lnTo>
                    <a:pt x="760" y="296"/>
                  </a:lnTo>
                  <a:lnTo>
                    <a:pt x="849" y="263"/>
                  </a:lnTo>
                  <a:lnTo>
                    <a:pt x="901" y="296"/>
                  </a:lnTo>
                  <a:lnTo>
                    <a:pt x="901" y="263"/>
                  </a:lnTo>
                  <a:lnTo>
                    <a:pt x="883" y="248"/>
                  </a:lnTo>
                  <a:lnTo>
                    <a:pt x="901" y="231"/>
                  </a:lnTo>
                  <a:lnTo>
                    <a:pt x="970" y="200"/>
                  </a:lnTo>
                  <a:lnTo>
                    <a:pt x="987" y="248"/>
                  </a:lnTo>
                  <a:lnTo>
                    <a:pt x="1073" y="279"/>
                  </a:lnTo>
                  <a:lnTo>
                    <a:pt x="1125" y="296"/>
                  </a:lnTo>
                  <a:lnTo>
                    <a:pt x="1162" y="296"/>
                  </a:lnTo>
                  <a:lnTo>
                    <a:pt x="1162" y="248"/>
                  </a:lnTo>
                  <a:lnTo>
                    <a:pt x="1177" y="231"/>
                  </a:lnTo>
                  <a:lnTo>
                    <a:pt x="1125" y="200"/>
                  </a:lnTo>
                  <a:lnTo>
                    <a:pt x="1162" y="183"/>
                  </a:lnTo>
                  <a:lnTo>
                    <a:pt x="1177" y="135"/>
                  </a:lnTo>
                  <a:lnTo>
                    <a:pt x="1214" y="183"/>
                  </a:lnTo>
                  <a:lnTo>
                    <a:pt x="1248" y="215"/>
                  </a:lnTo>
                  <a:lnTo>
                    <a:pt x="1214" y="248"/>
                  </a:lnTo>
                  <a:lnTo>
                    <a:pt x="1214" y="279"/>
                  </a:lnTo>
                  <a:lnTo>
                    <a:pt x="1229" y="296"/>
                  </a:lnTo>
                  <a:lnTo>
                    <a:pt x="1248" y="263"/>
                  </a:lnTo>
                  <a:lnTo>
                    <a:pt x="1281" y="231"/>
                  </a:lnTo>
                  <a:lnTo>
                    <a:pt x="1265" y="200"/>
                  </a:lnTo>
                  <a:lnTo>
                    <a:pt x="1281" y="167"/>
                  </a:lnTo>
                  <a:lnTo>
                    <a:pt x="1248" y="135"/>
                  </a:lnTo>
                  <a:lnTo>
                    <a:pt x="1214" y="104"/>
                  </a:lnTo>
                  <a:lnTo>
                    <a:pt x="1229" y="8"/>
                  </a:lnTo>
                  <a:lnTo>
                    <a:pt x="1283" y="0"/>
                  </a:lnTo>
                  <a:lnTo>
                    <a:pt x="1352" y="119"/>
                  </a:lnTo>
                  <a:lnTo>
                    <a:pt x="1333" y="152"/>
                  </a:lnTo>
                  <a:lnTo>
                    <a:pt x="1352" y="167"/>
                  </a:lnTo>
                  <a:lnTo>
                    <a:pt x="1404" y="231"/>
                  </a:lnTo>
                  <a:lnTo>
                    <a:pt x="1421" y="183"/>
                  </a:lnTo>
                  <a:lnTo>
                    <a:pt x="1455" y="215"/>
                  </a:lnTo>
                  <a:lnTo>
                    <a:pt x="1436" y="279"/>
                  </a:lnTo>
                  <a:lnTo>
                    <a:pt x="1473" y="311"/>
                  </a:lnTo>
                  <a:lnTo>
                    <a:pt x="1490" y="311"/>
                  </a:lnTo>
                  <a:lnTo>
                    <a:pt x="1490" y="279"/>
                  </a:lnTo>
                  <a:lnTo>
                    <a:pt x="1525" y="263"/>
                  </a:lnTo>
                  <a:lnTo>
                    <a:pt x="1525" y="135"/>
                  </a:lnTo>
                  <a:lnTo>
                    <a:pt x="1559" y="135"/>
                  </a:lnTo>
                  <a:lnTo>
                    <a:pt x="1594" y="152"/>
                  </a:lnTo>
                  <a:lnTo>
                    <a:pt x="1594" y="183"/>
                  </a:lnTo>
                  <a:lnTo>
                    <a:pt x="1628" y="183"/>
                  </a:lnTo>
                  <a:lnTo>
                    <a:pt x="1628" y="231"/>
                  </a:lnTo>
                  <a:lnTo>
                    <a:pt x="1594" y="248"/>
                  </a:lnTo>
                  <a:lnTo>
                    <a:pt x="1594" y="279"/>
                  </a:lnTo>
                  <a:lnTo>
                    <a:pt x="1628" y="296"/>
                  </a:lnTo>
                  <a:lnTo>
                    <a:pt x="1628" y="327"/>
                  </a:lnTo>
                  <a:lnTo>
                    <a:pt x="1559" y="392"/>
                  </a:lnTo>
                  <a:lnTo>
                    <a:pt x="1525" y="375"/>
                  </a:lnTo>
                  <a:lnTo>
                    <a:pt x="1525" y="359"/>
                  </a:lnTo>
                  <a:lnTo>
                    <a:pt x="1490" y="359"/>
                  </a:lnTo>
                  <a:lnTo>
                    <a:pt x="1507" y="392"/>
                  </a:lnTo>
                  <a:lnTo>
                    <a:pt x="1473" y="423"/>
                  </a:lnTo>
                  <a:lnTo>
                    <a:pt x="1473" y="455"/>
                  </a:lnTo>
                  <a:lnTo>
                    <a:pt x="1436" y="518"/>
                  </a:lnTo>
                  <a:lnTo>
                    <a:pt x="1404" y="518"/>
                  </a:lnTo>
                  <a:lnTo>
                    <a:pt x="1369" y="551"/>
                  </a:lnTo>
                  <a:lnTo>
                    <a:pt x="1384" y="584"/>
                  </a:lnTo>
                  <a:lnTo>
                    <a:pt x="1333" y="599"/>
                  </a:lnTo>
                  <a:lnTo>
                    <a:pt x="1333" y="632"/>
                  </a:lnTo>
                  <a:lnTo>
                    <a:pt x="1317" y="632"/>
                  </a:lnTo>
                  <a:lnTo>
                    <a:pt x="1300" y="647"/>
                  </a:lnTo>
                  <a:lnTo>
                    <a:pt x="1265" y="728"/>
                  </a:lnTo>
                  <a:lnTo>
                    <a:pt x="1265" y="776"/>
                  </a:lnTo>
                  <a:lnTo>
                    <a:pt x="1281" y="791"/>
                  </a:lnTo>
                  <a:lnTo>
                    <a:pt x="1317" y="791"/>
                  </a:lnTo>
                  <a:lnTo>
                    <a:pt x="1333" y="887"/>
                  </a:lnTo>
                  <a:lnTo>
                    <a:pt x="1369" y="872"/>
                  </a:lnTo>
                  <a:lnTo>
                    <a:pt x="1421" y="887"/>
                  </a:lnTo>
                  <a:lnTo>
                    <a:pt x="1455" y="920"/>
                  </a:lnTo>
                  <a:lnTo>
                    <a:pt x="1525" y="950"/>
                  </a:lnTo>
                  <a:lnTo>
                    <a:pt x="1594" y="950"/>
                  </a:lnTo>
                  <a:lnTo>
                    <a:pt x="1611" y="968"/>
                  </a:lnTo>
                  <a:lnTo>
                    <a:pt x="1611" y="1063"/>
                  </a:lnTo>
                  <a:lnTo>
                    <a:pt x="1682" y="1127"/>
                  </a:lnTo>
                  <a:lnTo>
                    <a:pt x="1715" y="1094"/>
                  </a:lnTo>
                  <a:lnTo>
                    <a:pt x="1682" y="983"/>
                  </a:lnTo>
                  <a:lnTo>
                    <a:pt x="1715" y="968"/>
                  </a:lnTo>
                  <a:lnTo>
                    <a:pt x="1749" y="920"/>
                  </a:lnTo>
                  <a:lnTo>
                    <a:pt x="1734" y="824"/>
                  </a:lnTo>
                  <a:lnTo>
                    <a:pt x="1697" y="791"/>
                  </a:lnTo>
                  <a:lnTo>
                    <a:pt x="1715" y="776"/>
                  </a:lnTo>
                  <a:lnTo>
                    <a:pt x="1734" y="776"/>
                  </a:lnTo>
                  <a:lnTo>
                    <a:pt x="1734" y="758"/>
                  </a:lnTo>
                  <a:lnTo>
                    <a:pt x="1734" y="710"/>
                  </a:lnTo>
                  <a:lnTo>
                    <a:pt x="1715" y="695"/>
                  </a:lnTo>
                  <a:lnTo>
                    <a:pt x="1734" y="647"/>
                  </a:lnTo>
                  <a:lnTo>
                    <a:pt x="1715" y="632"/>
                  </a:lnTo>
                  <a:lnTo>
                    <a:pt x="1715" y="614"/>
                  </a:lnTo>
                  <a:lnTo>
                    <a:pt x="1734" y="599"/>
                  </a:lnTo>
                  <a:lnTo>
                    <a:pt x="1786" y="614"/>
                  </a:lnTo>
                  <a:lnTo>
                    <a:pt x="1837" y="599"/>
                  </a:lnTo>
                  <a:lnTo>
                    <a:pt x="1905" y="647"/>
                  </a:lnTo>
                  <a:lnTo>
                    <a:pt x="1889" y="662"/>
                  </a:lnTo>
                  <a:lnTo>
                    <a:pt x="1905" y="680"/>
                  </a:lnTo>
                  <a:lnTo>
                    <a:pt x="1956" y="680"/>
                  </a:lnTo>
                  <a:lnTo>
                    <a:pt x="1956" y="776"/>
                  </a:lnTo>
                  <a:lnTo>
                    <a:pt x="2008" y="824"/>
                  </a:lnTo>
                  <a:lnTo>
                    <a:pt x="2027" y="806"/>
                  </a:lnTo>
                  <a:lnTo>
                    <a:pt x="2060" y="776"/>
                  </a:lnTo>
                  <a:lnTo>
                    <a:pt x="2079" y="758"/>
                  </a:lnTo>
                  <a:lnTo>
                    <a:pt x="2060" y="743"/>
                  </a:lnTo>
                  <a:lnTo>
                    <a:pt x="2079" y="710"/>
                  </a:lnTo>
                  <a:lnTo>
                    <a:pt x="2183" y="872"/>
                  </a:lnTo>
                  <a:lnTo>
                    <a:pt x="2166" y="887"/>
                  </a:lnTo>
                  <a:lnTo>
                    <a:pt x="2166" y="920"/>
                  </a:lnTo>
                  <a:lnTo>
                    <a:pt x="2200" y="935"/>
                  </a:lnTo>
                  <a:lnTo>
                    <a:pt x="2200" y="950"/>
                  </a:lnTo>
                  <a:lnTo>
                    <a:pt x="2235" y="968"/>
                  </a:lnTo>
                  <a:lnTo>
                    <a:pt x="2252" y="968"/>
                  </a:lnTo>
                  <a:lnTo>
                    <a:pt x="2287" y="983"/>
                  </a:lnTo>
                  <a:lnTo>
                    <a:pt x="2252" y="998"/>
                  </a:lnTo>
                  <a:lnTo>
                    <a:pt x="2287" y="998"/>
                  </a:lnTo>
                  <a:lnTo>
                    <a:pt x="2287" y="1031"/>
                  </a:lnTo>
                  <a:lnTo>
                    <a:pt x="2306" y="1031"/>
                  </a:lnTo>
                  <a:lnTo>
                    <a:pt x="2321" y="1046"/>
                  </a:lnTo>
                  <a:lnTo>
                    <a:pt x="2321" y="1063"/>
                  </a:lnTo>
                  <a:lnTo>
                    <a:pt x="2338" y="1094"/>
                  </a:lnTo>
                  <a:lnTo>
                    <a:pt x="2306" y="1111"/>
                  </a:lnTo>
                  <a:lnTo>
                    <a:pt x="2252" y="1127"/>
                  </a:lnTo>
                  <a:lnTo>
                    <a:pt x="2218" y="1175"/>
                  </a:lnTo>
                  <a:lnTo>
                    <a:pt x="2166" y="1175"/>
                  </a:lnTo>
                  <a:lnTo>
                    <a:pt x="2114" y="1159"/>
                  </a:lnTo>
                  <a:lnTo>
                    <a:pt x="2027" y="1175"/>
                  </a:lnTo>
                  <a:lnTo>
                    <a:pt x="2008" y="1207"/>
                  </a:lnTo>
                  <a:lnTo>
                    <a:pt x="1993" y="1207"/>
                  </a:lnTo>
                  <a:lnTo>
                    <a:pt x="1956" y="1223"/>
                  </a:lnTo>
                  <a:lnTo>
                    <a:pt x="1905" y="1286"/>
                  </a:lnTo>
                  <a:lnTo>
                    <a:pt x="1924" y="1286"/>
                  </a:lnTo>
                  <a:lnTo>
                    <a:pt x="1976" y="1238"/>
                  </a:lnTo>
                  <a:lnTo>
                    <a:pt x="2027" y="1207"/>
                  </a:lnTo>
                  <a:lnTo>
                    <a:pt x="2079" y="1207"/>
                  </a:lnTo>
                  <a:lnTo>
                    <a:pt x="2097" y="1207"/>
                  </a:lnTo>
                  <a:lnTo>
                    <a:pt x="2097" y="1238"/>
                  </a:lnTo>
                  <a:lnTo>
                    <a:pt x="2060" y="1255"/>
                  </a:lnTo>
                  <a:lnTo>
                    <a:pt x="2045" y="1255"/>
                  </a:lnTo>
                  <a:lnTo>
                    <a:pt x="2060" y="1271"/>
                  </a:lnTo>
                  <a:lnTo>
                    <a:pt x="2079" y="1255"/>
                  </a:lnTo>
                  <a:lnTo>
                    <a:pt x="2079" y="1303"/>
                  </a:lnTo>
                  <a:lnTo>
                    <a:pt x="2097" y="1319"/>
                  </a:lnTo>
                  <a:lnTo>
                    <a:pt x="2131" y="1334"/>
                  </a:lnTo>
                  <a:lnTo>
                    <a:pt x="2166" y="1334"/>
                  </a:lnTo>
                  <a:lnTo>
                    <a:pt x="2166" y="1319"/>
                  </a:lnTo>
                  <a:lnTo>
                    <a:pt x="2200" y="1286"/>
                  </a:lnTo>
                  <a:lnTo>
                    <a:pt x="2200" y="1319"/>
                  </a:lnTo>
                  <a:lnTo>
                    <a:pt x="2218" y="1319"/>
                  </a:lnTo>
                  <a:lnTo>
                    <a:pt x="2183" y="1334"/>
                  </a:lnTo>
                  <a:lnTo>
                    <a:pt x="2183" y="1351"/>
                  </a:lnTo>
                  <a:lnTo>
                    <a:pt x="2097" y="1382"/>
                  </a:lnTo>
                  <a:lnTo>
                    <a:pt x="2060" y="1415"/>
                  </a:lnTo>
                  <a:lnTo>
                    <a:pt x="2045" y="1382"/>
                  </a:lnTo>
                  <a:lnTo>
                    <a:pt x="2097" y="1351"/>
                  </a:lnTo>
                  <a:lnTo>
                    <a:pt x="2079" y="1351"/>
                  </a:lnTo>
                  <a:lnTo>
                    <a:pt x="2079" y="1334"/>
                  </a:lnTo>
                  <a:lnTo>
                    <a:pt x="2045" y="1351"/>
                  </a:lnTo>
                  <a:lnTo>
                    <a:pt x="2027" y="1351"/>
                  </a:lnTo>
                  <a:lnTo>
                    <a:pt x="2008" y="1334"/>
                  </a:lnTo>
                  <a:lnTo>
                    <a:pt x="1993" y="1286"/>
                  </a:lnTo>
                  <a:lnTo>
                    <a:pt x="1993" y="1271"/>
                  </a:lnTo>
                  <a:lnTo>
                    <a:pt x="1976" y="1286"/>
                  </a:lnTo>
                  <a:lnTo>
                    <a:pt x="1956" y="1271"/>
                  </a:lnTo>
                  <a:lnTo>
                    <a:pt x="1924" y="1351"/>
                  </a:lnTo>
                  <a:lnTo>
                    <a:pt x="1889" y="1367"/>
                  </a:lnTo>
                  <a:lnTo>
                    <a:pt x="1801" y="1367"/>
                  </a:lnTo>
                  <a:lnTo>
                    <a:pt x="1766" y="1382"/>
                  </a:lnTo>
                  <a:lnTo>
                    <a:pt x="1749" y="1399"/>
                  </a:lnTo>
                  <a:lnTo>
                    <a:pt x="1682" y="14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4" name="Freeform 45">
              <a:extLst>
                <a:ext uri="{FF2B5EF4-FFF2-40B4-BE49-F238E27FC236}">
                  <a16:creationId xmlns:a16="http://schemas.microsoft.com/office/drawing/2014/main" id="{CC033A6F-1C29-4CD5-BD6F-467ABA70FF44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154363" y="4237038"/>
              <a:ext cx="82550" cy="50800"/>
            </a:xfrm>
            <a:custGeom>
              <a:avLst/>
              <a:gdLst>
                <a:gd name="T0" fmla="*/ 0 w 104"/>
                <a:gd name="T1" fmla="*/ 9676 h 63"/>
                <a:gd name="T2" fmla="*/ 0 w 104"/>
                <a:gd name="T3" fmla="*/ 9676 h 63"/>
                <a:gd name="T4" fmla="*/ 0 w 104"/>
                <a:gd name="T5" fmla="*/ 0 h 63"/>
                <a:gd name="T6" fmla="*/ 10319 w 104"/>
                <a:gd name="T7" fmla="*/ 0 h 63"/>
                <a:gd name="T8" fmla="*/ 10319 w 104"/>
                <a:gd name="T9" fmla="*/ 3225 h 63"/>
                <a:gd name="T10" fmla="*/ 14288 w 104"/>
                <a:gd name="T11" fmla="*/ 3225 h 63"/>
                <a:gd name="T12" fmla="*/ 20638 w 104"/>
                <a:gd name="T13" fmla="*/ 6451 h 63"/>
                <a:gd name="T14" fmla="*/ 17463 w 104"/>
                <a:gd name="T15" fmla="*/ 9676 h 63"/>
                <a:gd name="T16" fmla="*/ 17463 w 104"/>
                <a:gd name="T17" fmla="*/ 6451 h 63"/>
                <a:gd name="T18" fmla="*/ 7144 w 104"/>
                <a:gd name="T19" fmla="*/ 9676 h 63"/>
                <a:gd name="T20" fmla="*/ 7144 w 104"/>
                <a:gd name="T21" fmla="*/ 6451 h 63"/>
                <a:gd name="T22" fmla="*/ 3969 w 104"/>
                <a:gd name="T23" fmla="*/ 9676 h 63"/>
                <a:gd name="T24" fmla="*/ 3969 w 104"/>
                <a:gd name="T25" fmla="*/ 12902 h 63"/>
                <a:gd name="T26" fmla="*/ 0 w 104"/>
                <a:gd name="T27" fmla="*/ 9676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63"/>
                <a:gd name="T44" fmla="*/ 104 w 104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63">
                  <a:moveTo>
                    <a:pt x="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69" y="15"/>
                  </a:lnTo>
                  <a:lnTo>
                    <a:pt x="104" y="31"/>
                  </a:lnTo>
                  <a:lnTo>
                    <a:pt x="87" y="48"/>
                  </a:lnTo>
                  <a:lnTo>
                    <a:pt x="87" y="31"/>
                  </a:lnTo>
                  <a:lnTo>
                    <a:pt x="35" y="48"/>
                  </a:lnTo>
                  <a:lnTo>
                    <a:pt x="35" y="31"/>
                  </a:lnTo>
                  <a:lnTo>
                    <a:pt x="18" y="48"/>
                  </a:lnTo>
                  <a:lnTo>
                    <a:pt x="18" y="63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5" name="Freeform 46">
              <a:extLst>
                <a:ext uri="{FF2B5EF4-FFF2-40B4-BE49-F238E27FC236}">
                  <a16:creationId xmlns:a16="http://schemas.microsoft.com/office/drawing/2014/main" id="{00004FB8-12F0-445F-803D-A80D382F66E9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098800" y="4237038"/>
              <a:ext cx="55563" cy="38100"/>
            </a:xfrm>
            <a:custGeom>
              <a:avLst/>
              <a:gdLst>
                <a:gd name="T0" fmla="*/ 14495 w 69"/>
                <a:gd name="T1" fmla="*/ 9525 h 48"/>
                <a:gd name="T2" fmla="*/ 14495 w 69"/>
                <a:gd name="T3" fmla="*/ 9525 h 48"/>
                <a:gd name="T4" fmla="*/ 14495 w 69"/>
                <a:gd name="T5" fmla="*/ 0 h 48"/>
                <a:gd name="T6" fmla="*/ 7247 w 69"/>
                <a:gd name="T7" fmla="*/ 0 h 48"/>
                <a:gd name="T8" fmla="*/ 10468 w 69"/>
                <a:gd name="T9" fmla="*/ 5556 h 48"/>
                <a:gd name="T10" fmla="*/ 0 w 69"/>
                <a:gd name="T11" fmla="*/ 9525 h 48"/>
                <a:gd name="T12" fmla="*/ 4026 w 69"/>
                <a:gd name="T13" fmla="*/ 9525 h 48"/>
                <a:gd name="T14" fmla="*/ 14495 w 69"/>
                <a:gd name="T15" fmla="*/ 9525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69" y="48"/>
                  </a:moveTo>
                  <a:lnTo>
                    <a:pt x="69" y="48"/>
                  </a:lnTo>
                  <a:lnTo>
                    <a:pt x="69" y="0"/>
                  </a:lnTo>
                  <a:lnTo>
                    <a:pt x="35" y="0"/>
                  </a:lnTo>
                  <a:lnTo>
                    <a:pt x="52" y="31"/>
                  </a:lnTo>
                  <a:lnTo>
                    <a:pt x="0" y="48"/>
                  </a:lnTo>
                  <a:lnTo>
                    <a:pt x="18" y="48"/>
                  </a:lnTo>
                  <a:lnTo>
                    <a:pt x="69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6" name="Freeform 47">
              <a:extLst>
                <a:ext uri="{FF2B5EF4-FFF2-40B4-BE49-F238E27FC236}">
                  <a16:creationId xmlns:a16="http://schemas.microsoft.com/office/drawing/2014/main" id="{4445E5EE-00E3-4649-B564-4ABBA0B952EA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375025" y="4427538"/>
              <a:ext cx="12700" cy="12700"/>
            </a:xfrm>
            <a:custGeom>
              <a:avLst/>
              <a:gdLst>
                <a:gd name="T0" fmla="*/ 0 w 17"/>
                <a:gd name="T1" fmla="*/ 3387 h 15"/>
                <a:gd name="T2" fmla="*/ 0 w 17"/>
                <a:gd name="T3" fmla="*/ 3387 h 15"/>
                <a:gd name="T4" fmla="*/ 2988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w 17"/>
                <a:gd name="T11" fmla="*/ 338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7" name="Freeform 48">
              <a:extLst>
                <a:ext uri="{FF2B5EF4-FFF2-40B4-BE49-F238E27FC236}">
                  <a16:creationId xmlns:a16="http://schemas.microsoft.com/office/drawing/2014/main" id="{11C79C6B-0371-46BA-B672-9061307C3645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016250" y="4262438"/>
              <a:ext cx="41275" cy="25400"/>
            </a:xfrm>
            <a:custGeom>
              <a:avLst/>
              <a:gdLst>
                <a:gd name="T0" fmla="*/ 0 w 51"/>
                <a:gd name="T1" fmla="*/ 3175 h 32"/>
                <a:gd name="T2" fmla="*/ 0 w 51"/>
                <a:gd name="T3" fmla="*/ 3175 h 32"/>
                <a:gd name="T4" fmla="*/ 7284 w 51"/>
                <a:gd name="T5" fmla="*/ 6350 h 32"/>
                <a:gd name="T6" fmla="*/ 10521 w 51"/>
                <a:gd name="T7" fmla="*/ 3175 h 32"/>
                <a:gd name="T8" fmla="*/ 4047 w 51"/>
                <a:gd name="T9" fmla="*/ 0 h 32"/>
                <a:gd name="T10" fmla="*/ 0 w 51"/>
                <a:gd name="T11" fmla="*/ 3175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32"/>
                <a:gd name="T20" fmla="*/ 51 w 5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32">
                  <a:moveTo>
                    <a:pt x="0" y="17"/>
                  </a:moveTo>
                  <a:lnTo>
                    <a:pt x="0" y="17"/>
                  </a:lnTo>
                  <a:lnTo>
                    <a:pt x="34" y="32"/>
                  </a:lnTo>
                  <a:lnTo>
                    <a:pt x="51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8" name="Freeform 49">
              <a:extLst>
                <a:ext uri="{FF2B5EF4-FFF2-40B4-BE49-F238E27FC236}">
                  <a16:creationId xmlns:a16="http://schemas.microsoft.com/office/drawing/2014/main" id="{02F450FD-5A75-434F-B738-FA4C515003CF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879725" y="4160838"/>
              <a:ext cx="219075" cy="76200"/>
            </a:xfrm>
            <a:custGeom>
              <a:avLst/>
              <a:gdLst>
                <a:gd name="T0" fmla="*/ 0 w 276"/>
                <a:gd name="T1" fmla="*/ 9525 h 96"/>
                <a:gd name="T2" fmla="*/ 0 w 276"/>
                <a:gd name="T3" fmla="*/ 9525 h 96"/>
                <a:gd name="T4" fmla="*/ 3175 w 276"/>
                <a:gd name="T5" fmla="*/ 9525 h 96"/>
                <a:gd name="T6" fmla="*/ 10319 w 276"/>
                <a:gd name="T7" fmla="*/ 2381 h 96"/>
                <a:gd name="T8" fmla="*/ 16669 w 276"/>
                <a:gd name="T9" fmla="*/ 5556 h 96"/>
                <a:gd name="T10" fmla="*/ 13494 w 276"/>
                <a:gd name="T11" fmla="*/ 5556 h 96"/>
                <a:gd name="T12" fmla="*/ 16669 w 276"/>
                <a:gd name="T13" fmla="*/ 5556 h 96"/>
                <a:gd name="T14" fmla="*/ 30162 w 276"/>
                <a:gd name="T15" fmla="*/ 9525 h 96"/>
                <a:gd name="T16" fmla="*/ 34131 w 276"/>
                <a:gd name="T17" fmla="*/ 15875 h 96"/>
                <a:gd name="T18" fmla="*/ 40481 w 276"/>
                <a:gd name="T19" fmla="*/ 15875 h 96"/>
                <a:gd name="T20" fmla="*/ 37306 w 276"/>
                <a:gd name="T21" fmla="*/ 19050 h 96"/>
                <a:gd name="T22" fmla="*/ 54769 w 276"/>
                <a:gd name="T23" fmla="*/ 19050 h 96"/>
                <a:gd name="T24" fmla="*/ 51594 w 276"/>
                <a:gd name="T25" fmla="*/ 15875 h 96"/>
                <a:gd name="T26" fmla="*/ 47625 w 276"/>
                <a:gd name="T27" fmla="*/ 15875 h 96"/>
                <a:gd name="T28" fmla="*/ 47625 w 276"/>
                <a:gd name="T29" fmla="*/ 11906 h 96"/>
                <a:gd name="T30" fmla="*/ 34131 w 276"/>
                <a:gd name="T31" fmla="*/ 5556 h 96"/>
                <a:gd name="T32" fmla="*/ 16669 w 276"/>
                <a:gd name="T33" fmla="*/ 0 h 96"/>
                <a:gd name="T34" fmla="*/ 7144 w 276"/>
                <a:gd name="T35" fmla="*/ 2381 h 96"/>
                <a:gd name="T36" fmla="*/ 0 w 276"/>
                <a:gd name="T37" fmla="*/ 9525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6"/>
                <a:gd name="T58" fmla="*/ 0 h 96"/>
                <a:gd name="T59" fmla="*/ 276 w 276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6" h="96">
                  <a:moveTo>
                    <a:pt x="0" y="48"/>
                  </a:moveTo>
                  <a:lnTo>
                    <a:pt x="0" y="48"/>
                  </a:lnTo>
                  <a:lnTo>
                    <a:pt x="17" y="48"/>
                  </a:lnTo>
                  <a:lnTo>
                    <a:pt x="52" y="15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86" y="31"/>
                  </a:lnTo>
                  <a:lnTo>
                    <a:pt x="155" y="48"/>
                  </a:lnTo>
                  <a:lnTo>
                    <a:pt x="173" y="79"/>
                  </a:lnTo>
                  <a:lnTo>
                    <a:pt x="207" y="79"/>
                  </a:lnTo>
                  <a:lnTo>
                    <a:pt x="190" y="96"/>
                  </a:lnTo>
                  <a:lnTo>
                    <a:pt x="276" y="96"/>
                  </a:lnTo>
                  <a:lnTo>
                    <a:pt x="259" y="79"/>
                  </a:lnTo>
                  <a:lnTo>
                    <a:pt x="242" y="79"/>
                  </a:lnTo>
                  <a:lnTo>
                    <a:pt x="242" y="63"/>
                  </a:lnTo>
                  <a:lnTo>
                    <a:pt x="173" y="31"/>
                  </a:lnTo>
                  <a:lnTo>
                    <a:pt x="86" y="0"/>
                  </a:lnTo>
                  <a:lnTo>
                    <a:pt x="34" y="15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89" name="Freeform 50">
              <a:extLst>
                <a:ext uri="{FF2B5EF4-FFF2-40B4-BE49-F238E27FC236}">
                  <a16:creationId xmlns:a16="http://schemas.microsoft.com/office/drawing/2014/main" id="{378A021D-AC5A-4BFC-8A90-35A04FBC219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265488" y="4262438"/>
              <a:ext cx="25400" cy="12700"/>
            </a:xfrm>
            <a:custGeom>
              <a:avLst/>
              <a:gdLst>
                <a:gd name="T0" fmla="*/ 0 w 33"/>
                <a:gd name="T1" fmla="*/ 2988 h 17"/>
                <a:gd name="T2" fmla="*/ 0 w 33"/>
                <a:gd name="T3" fmla="*/ 2988 h 17"/>
                <a:gd name="T4" fmla="*/ 6158 w 33"/>
                <a:gd name="T5" fmla="*/ 2988 h 17"/>
                <a:gd name="T6" fmla="*/ 0 w 33"/>
                <a:gd name="T7" fmla="*/ 0 h 17"/>
                <a:gd name="T8" fmla="*/ 0 w 33"/>
                <a:gd name="T9" fmla="*/ 2988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0" name="Freeform 51">
              <a:extLst>
                <a:ext uri="{FF2B5EF4-FFF2-40B4-BE49-F238E27FC236}">
                  <a16:creationId xmlns:a16="http://schemas.microsoft.com/office/drawing/2014/main" id="{E06918E6-D55F-4709-8785-AE34C217A5C4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375025" y="4313238"/>
              <a:ext cx="12700" cy="12700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1" name="Freeform 52">
              <a:extLst>
                <a:ext uri="{FF2B5EF4-FFF2-40B4-BE49-F238E27FC236}">
                  <a16:creationId xmlns:a16="http://schemas.microsoft.com/office/drawing/2014/main" id="{A4D8230F-6EC8-46A9-AA38-92687EC7C6AD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016250" y="4122738"/>
              <a:ext cx="14288" cy="38100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381 h 48"/>
                <a:gd name="T6" fmla="*/ 4202 w 17"/>
                <a:gd name="T7" fmla="*/ 9525 h 48"/>
                <a:gd name="T8" fmla="*/ 4202 w 17"/>
                <a:gd name="T9" fmla="*/ 2381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2" name="Freeform 53">
              <a:extLst>
                <a:ext uri="{FF2B5EF4-FFF2-40B4-BE49-F238E27FC236}">
                  <a16:creationId xmlns:a16="http://schemas.microsoft.com/office/drawing/2014/main" id="{2E9D4386-87FA-4D40-A936-607085981644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113088" y="3743326"/>
              <a:ext cx="41275" cy="11113"/>
            </a:xfrm>
            <a:custGeom>
              <a:avLst/>
              <a:gdLst>
                <a:gd name="T0" fmla="*/ 0 w 51"/>
                <a:gd name="T1" fmla="*/ 2084 h 16"/>
                <a:gd name="T2" fmla="*/ 10521 w 51"/>
                <a:gd name="T3" fmla="*/ 0 h 16"/>
                <a:gd name="T4" fmla="*/ 7284 w 51"/>
                <a:gd name="T5" fmla="*/ 0 h 16"/>
                <a:gd name="T6" fmla="*/ 0 w 51"/>
                <a:gd name="T7" fmla="*/ 2084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3" name="Freeform 54">
              <a:extLst>
                <a:ext uri="{FF2B5EF4-FFF2-40B4-BE49-F238E27FC236}">
                  <a16:creationId xmlns:a16="http://schemas.microsoft.com/office/drawing/2014/main" id="{D3B2DEB8-CFFE-47C8-A475-098DA70AD23D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317875" y="3487738"/>
              <a:ext cx="57150" cy="26988"/>
            </a:xfrm>
            <a:custGeom>
              <a:avLst/>
              <a:gdLst>
                <a:gd name="T0" fmla="*/ 0 w 71"/>
                <a:gd name="T1" fmla="*/ 0 h 32"/>
                <a:gd name="T2" fmla="*/ 0 w 71"/>
                <a:gd name="T3" fmla="*/ 0 h 32"/>
                <a:gd name="T4" fmla="*/ 7244 w 71"/>
                <a:gd name="T5" fmla="*/ 7590 h 32"/>
                <a:gd name="T6" fmla="*/ 14489 w 71"/>
                <a:gd name="T7" fmla="*/ 7590 h 32"/>
                <a:gd name="T8" fmla="*/ 7244 w 71"/>
                <a:gd name="T9" fmla="*/ 3374 h 32"/>
                <a:gd name="T10" fmla="*/ 0 w 71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32"/>
                <a:gd name="T20" fmla="*/ 71 w 7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32">
                  <a:moveTo>
                    <a:pt x="0" y="0"/>
                  </a:moveTo>
                  <a:lnTo>
                    <a:pt x="0" y="0"/>
                  </a:lnTo>
                  <a:lnTo>
                    <a:pt x="34" y="32"/>
                  </a:lnTo>
                  <a:lnTo>
                    <a:pt x="71" y="32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4" name="Freeform 55">
              <a:extLst>
                <a:ext uri="{FF2B5EF4-FFF2-40B4-BE49-F238E27FC236}">
                  <a16:creationId xmlns:a16="http://schemas.microsoft.com/office/drawing/2014/main" id="{D2891A18-0FFD-4E52-AAA3-3CA0C65CD64E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3317875" y="3576638"/>
              <a:ext cx="57150" cy="38100"/>
            </a:xfrm>
            <a:custGeom>
              <a:avLst/>
              <a:gdLst>
                <a:gd name="T0" fmla="*/ 0 w 71"/>
                <a:gd name="T1" fmla="*/ 3969 h 48"/>
                <a:gd name="T2" fmla="*/ 0 w 71"/>
                <a:gd name="T3" fmla="*/ 3969 h 48"/>
                <a:gd name="T4" fmla="*/ 10464 w 71"/>
                <a:gd name="T5" fmla="*/ 9525 h 48"/>
                <a:gd name="T6" fmla="*/ 10464 w 71"/>
                <a:gd name="T7" fmla="*/ 7144 h 48"/>
                <a:gd name="T8" fmla="*/ 14489 w 71"/>
                <a:gd name="T9" fmla="*/ 3969 h 48"/>
                <a:gd name="T10" fmla="*/ 7244 w 71"/>
                <a:gd name="T11" fmla="*/ 3969 h 48"/>
                <a:gd name="T12" fmla="*/ 4025 w 71"/>
                <a:gd name="T13" fmla="*/ 3969 h 48"/>
                <a:gd name="T14" fmla="*/ 4025 w 71"/>
                <a:gd name="T15" fmla="*/ 0 h 48"/>
                <a:gd name="T16" fmla="*/ 0 w 71"/>
                <a:gd name="T17" fmla="*/ 3969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48"/>
                <a:gd name="T29" fmla="*/ 71 w 71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48">
                  <a:moveTo>
                    <a:pt x="0" y="17"/>
                  </a:moveTo>
                  <a:lnTo>
                    <a:pt x="0" y="17"/>
                  </a:lnTo>
                  <a:lnTo>
                    <a:pt x="52" y="48"/>
                  </a:lnTo>
                  <a:lnTo>
                    <a:pt x="52" y="33"/>
                  </a:lnTo>
                  <a:lnTo>
                    <a:pt x="71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5" name="Freeform 56">
              <a:extLst>
                <a:ext uri="{FF2B5EF4-FFF2-40B4-BE49-F238E27FC236}">
                  <a16:creationId xmlns:a16="http://schemas.microsoft.com/office/drawing/2014/main" id="{5CF961A9-001B-42C2-B4F0-D57C7E7E36E1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3427413" y="3438526"/>
              <a:ext cx="139700" cy="152400"/>
            </a:xfrm>
            <a:custGeom>
              <a:avLst/>
              <a:gdLst>
                <a:gd name="T0" fmla="*/ 0 w 175"/>
                <a:gd name="T1" fmla="*/ 28575 h 192"/>
                <a:gd name="T2" fmla="*/ 0 w 175"/>
                <a:gd name="T3" fmla="*/ 28575 h 192"/>
                <a:gd name="T4" fmla="*/ 0 w 175"/>
                <a:gd name="T5" fmla="*/ 31750 h 192"/>
                <a:gd name="T6" fmla="*/ 3991 w 175"/>
                <a:gd name="T7" fmla="*/ 31750 h 192"/>
                <a:gd name="T8" fmla="*/ 20755 w 175"/>
                <a:gd name="T9" fmla="*/ 31750 h 192"/>
                <a:gd name="T10" fmla="*/ 20755 w 175"/>
                <a:gd name="T11" fmla="*/ 34925 h 192"/>
                <a:gd name="T12" fmla="*/ 17562 w 175"/>
                <a:gd name="T13" fmla="*/ 34925 h 192"/>
                <a:gd name="T14" fmla="*/ 20755 w 175"/>
                <a:gd name="T15" fmla="*/ 34925 h 192"/>
                <a:gd name="T16" fmla="*/ 24747 w 175"/>
                <a:gd name="T17" fmla="*/ 31750 h 192"/>
                <a:gd name="T18" fmla="*/ 27940 w 175"/>
                <a:gd name="T19" fmla="*/ 31750 h 192"/>
                <a:gd name="T20" fmla="*/ 27940 w 175"/>
                <a:gd name="T21" fmla="*/ 34925 h 192"/>
                <a:gd name="T22" fmla="*/ 31931 w 175"/>
                <a:gd name="T23" fmla="*/ 34925 h 192"/>
                <a:gd name="T24" fmla="*/ 31931 w 175"/>
                <a:gd name="T25" fmla="*/ 38100 h 192"/>
                <a:gd name="T26" fmla="*/ 35125 w 175"/>
                <a:gd name="T27" fmla="*/ 38100 h 192"/>
                <a:gd name="T28" fmla="*/ 35125 w 175"/>
                <a:gd name="T29" fmla="*/ 31750 h 192"/>
                <a:gd name="T30" fmla="*/ 31931 w 175"/>
                <a:gd name="T31" fmla="*/ 31750 h 192"/>
                <a:gd name="T32" fmla="*/ 35125 w 175"/>
                <a:gd name="T33" fmla="*/ 28575 h 192"/>
                <a:gd name="T34" fmla="*/ 31931 w 175"/>
                <a:gd name="T35" fmla="*/ 31750 h 192"/>
                <a:gd name="T36" fmla="*/ 27940 w 175"/>
                <a:gd name="T37" fmla="*/ 28575 h 192"/>
                <a:gd name="T38" fmla="*/ 35125 w 175"/>
                <a:gd name="T39" fmla="*/ 22225 h 192"/>
                <a:gd name="T40" fmla="*/ 31931 w 175"/>
                <a:gd name="T41" fmla="*/ 24606 h 192"/>
                <a:gd name="T42" fmla="*/ 27940 w 175"/>
                <a:gd name="T43" fmla="*/ 22225 h 192"/>
                <a:gd name="T44" fmla="*/ 31931 w 175"/>
                <a:gd name="T45" fmla="*/ 19050 h 192"/>
                <a:gd name="T46" fmla="*/ 20755 w 175"/>
                <a:gd name="T47" fmla="*/ 19050 h 192"/>
                <a:gd name="T48" fmla="*/ 17562 w 175"/>
                <a:gd name="T49" fmla="*/ 15875 h 192"/>
                <a:gd name="T50" fmla="*/ 20755 w 175"/>
                <a:gd name="T51" fmla="*/ 12700 h 192"/>
                <a:gd name="T52" fmla="*/ 17562 w 175"/>
                <a:gd name="T53" fmla="*/ 12700 h 192"/>
                <a:gd name="T54" fmla="*/ 14369 w 175"/>
                <a:gd name="T55" fmla="*/ 15875 h 192"/>
                <a:gd name="T56" fmla="*/ 20755 w 175"/>
                <a:gd name="T57" fmla="*/ 0 h 192"/>
                <a:gd name="T58" fmla="*/ 14369 w 175"/>
                <a:gd name="T59" fmla="*/ 3175 h 192"/>
                <a:gd name="T60" fmla="*/ 3991 w 175"/>
                <a:gd name="T61" fmla="*/ 22225 h 192"/>
                <a:gd name="T62" fmla="*/ 3991 w 175"/>
                <a:gd name="T63" fmla="*/ 24606 h 192"/>
                <a:gd name="T64" fmla="*/ 0 w 175"/>
                <a:gd name="T65" fmla="*/ 28575 h 1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92"/>
                <a:gd name="T101" fmla="*/ 175 w 175"/>
                <a:gd name="T102" fmla="*/ 192 h 19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92">
                  <a:moveTo>
                    <a:pt x="0" y="144"/>
                  </a:moveTo>
                  <a:lnTo>
                    <a:pt x="0" y="144"/>
                  </a:lnTo>
                  <a:lnTo>
                    <a:pt x="0" y="160"/>
                  </a:lnTo>
                  <a:lnTo>
                    <a:pt x="17" y="160"/>
                  </a:lnTo>
                  <a:lnTo>
                    <a:pt x="104" y="160"/>
                  </a:lnTo>
                  <a:lnTo>
                    <a:pt x="104" y="175"/>
                  </a:lnTo>
                  <a:lnTo>
                    <a:pt x="86" y="175"/>
                  </a:lnTo>
                  <a:lnTo>
                    <a:pt x="104" y="175"/>
                  </a:lnTo>
                  <a:lnTo>
                    <a:pt x="121" y="160"/>
                  </a:lnTo>
                  <a:lnTo>
                    <a:pt x="140" y="160"/>
                  </a:lnTo>
                  <a:lnTo>
                    <a:pt x="140" y="175"/>
                  </a:lnTo>
                  <a:lnTo>
                    <a:pt x="157" y="175"/>
                  </a:lnTo>
                  <a:lnTo>
                    <a:pt x="157" y="192"/>
                  </a:lnTo>
                  <a:lnTo>
                    <a:pt x="175" y="192"/>
                  </a:lnTo>
                  <a:lnTo>
                    <a:pt x="175" y="160"/>
                  </a:lnTo>
                  <a:lnTo>
                    <a:pt x="157" y="160"/>
                  </a:lnTo>
                  <a:lnTo>
                    <a:pt x="175" y="144"/>
                  </a:lnTo>
                  <a:lnTo>
                    <a:pt x="157" y="160"/>
                  </a:lnTo>
                  <a:lnTo>
                    <a:pt x="140" y="144"/>
                  </a:lnTo>
                  <a:lnTo>
                    <a:pt x="175" y="112"/>
                  </a:lnTo>
                  <a:lnTo>
                    <a:pt x="157" y="127"/>
                  </a:lnTo>
                  <a:lnTo>
                    <a:pt x="140" y="112"/>
                  </a:lnTo>
                  <a:lnTo>
                    <a:pt x="157" y="96"/>
                  </a:lnTo>
                  <a:lnTo>
                    <a:pt x="104" y="96"/>
                  </a:lnTo>
                  <a:lnTo>
                    <a:pt x="86" y="79"/>
                  </a:lnTo>
                  <a:lnTo>
                    <a:pt x="104" y="64"/>
                  </a:lnTo>
                  <a:lnTo>
                    <a:pt x="86" y="64"/>
                  </a:lnTo>
                  <a:lnTo>
                    <a:pt x="69" y="79"/>
                  </a:lnTo>
                  <a:lnTo>
                    <a:pt x="104" y="0"/>
                  </a:lnTo>
                  <a:lnTo>
                    <a:pt x="69" y="16"/>
                  </a:lnTo>
                  <a:lnTo>
                    <a:pt x="17" y="112"/>
                  </a:lnTo>
                  <a:lnTo>
                    <a:pt x="17" y="127"/>
                  </a:lnTo>
                  <a:lnTo>
                    <a:pt x="0" y="144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6" name="Line 57">
              <a:extLst>
                <a:ext uri="{FF2B5EF4-FFF2-40B4-BE49-F238E27FC236}">
                  <a16:creationId xmlns:a16="http://schemas.microsoft.com/office/drawing/2014/main" id="{7710E73E-B79B-47CA-93AE-7B7A3BE9C5E1}"/>
                </a:ext>
              </a:extLst>
            </p:cNvPr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auto">
            <a:xfrm>
              <a:off x="3394075" y="4357688"/>
              <a:ext cx="14288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7" name="Line 58">
              <a:extLst>
                <a:ext uri="{FF2B5EF4-FFF2-40B4-BE49-F238E27FC236}">
                  <a16:creationId xmlns:a16="http://schemas.microsoft.com/office/drawing/2014/main" id="{314925B4-7F5C-49AA-90B1-AF2680F7A6B8}"/>
                </a:ext>
              </a:extLst>
            </p:cNvPr>
            <p:cNvSpPr>
              <a:spLocks noChangeShapeType="1"/>
            </p:cNvSpPr>
            <p:nvPr>
              <p:custDataLst>
                <p:tags r:id="rId58"/>
              </p:custDataLst>
            </p:nvPr>
          </p:nvSpPr>
          <p:spPr bwMode="auto">
            <a:xfrm>
              <a:off x="3008313" y="4103688"/>
              <a:ext cx="30163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8" name="Freeform 59">
              <a:extLst>
                <a:ext uri="{FF2B5EF4-FFF2-40B4-BE49-F238E27FC236}">
                  <a16:creationId xmlns:a16="http://schemas.microsoft.com/office/drawing/2014/main" id="{5838B310-6B6F-4AB9-8EBB-47C6CD0B365E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3030538" y="4084638"/>
              <a:ext cx="14288" cy="25400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4202 w 17"/>
                <a:gd name="T5" fmla="*/ 3277 h 31"/>
                <a:gd name="T6" fmla="*/ 4202 w 17"/>
                <a:gd name="T7" fmla="*/ 6555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99" name="Freeform 60">
              <a:extLst>
                <a:ext uri="{FF2B5EF4-FFF2-40B4-BE49-F238E27FC236}">
                  <a16:creationId xmlns:a16="http://schemas.microsoft.com/office/drawing/2014/main" id="{6DD03317-64B2-4123-B84A-12ACBFABF879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044825" y="4110038"/>
              <a:ext cx="12700" cy="25400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988 w 17"/>
                <a:gd name="T5" fmla="*/ 3175 h 32"/>
                <a:gd name="T6" fmla="*/ 2988 w 17"/>
                <a:gd name="T7" fmla="*/ 6350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0" name="Freeform 61">
              <a:extLst>
                <a:ext uri="{FF2B5EF4-FFF2-40B4-BE49-F238E27FC236}">
                  <a16:creationId xmlns:a16="http://schemas.microsoft.com/office/drawing/2014/main" id="{6E920D29-3F10-471F-89FA-FB9F3503CDC0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3098800" y="4173538"/>
              <a:ext cx="14288" cy="12700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3969 w 18"/>
                <a:gd name="T5" fmla="*/ 3175 h 16"/>
                <a:gd name="T6" fmla="*/ 0 w 18"/>
                <a:gd name="T7" fmla="*/ 3175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1" name="Freeform 62">
              <a:extLst>
                <a:ext uri="{FF2B5EF4-FFF2-40B4-BE49-F238E27FC236}">
                  <a16:creationId xmlns:a16="http://schemas.microsoft.com/office/drawing/2014/main" id="{310404B7-4759-4CB9-A998-C292F9F2A579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141663" y="4198938"/>
              <a:ext cx="25400" cy="0"/>
            </a:xfrm>
            <a:custGeom>
              <a:avLst/>
              <a:gdLst>
                <a:gd name="T0" fmla="*/ 0 w 33"/>
                <a:gd name="T1" fmla="*/ 0 w 33"/>
                <a:gd name="T2" fmla="*/ 2309 w 33"/>
                <a:gd name="T3" fmla="*/ 6158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2" name="Line 63">
              <a:extLst>
                <a:ext uri="{FF2B5EF4-FFF2-40B4-BE49-F238E27FC236}">
                  <a16:creationId xmlns:a16="http://schemas.microsoft.com/office/drawing/2014/main" id="{25DA31A8-9DAC-4A4F-9DA0-D80A5B27E534}"/>
                </a:ext>
              </a:extLst>
            </p:cNvPr>
            <p:cNvSpPr>
              <a:spLocks noChangeShapeType="1"/>
            </p:cNvSpPr>
            <p:nvPr>
              <p:custDataLst>
                <p:tags r:id="rId63"/>
              </p:custDataLst>
            </p:nvPr>
          </p:nvSpPr>
          <p:spPr bwMode="auto">
            <a:xfrm>
              <a:off x="3079750" y="4154488"/>
              <a:ext cx="11113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3" name="Line 64">
              <a:extLst>
                <a:ext uri="{FF2B5EF4-FFF2-40B4-BE49-F238E27FC236}">
                  <a16:creationId xmlns:a16="http://schemas.microsoft.com/office/drawing/2014/main" id="{55743612-0666-4A5E-8DE4-79E497A5900A}"/>
                </a:ext>
              </a:extLst>
            </p:cNvPr>
            <p:cNvSpPr>
              <a:spLocks noChangeShapeType="1"/>
            </p:cNvSpPr>
            <p:nvPr>
              <p:custDataLst>
                <p:tags r:id="rId64"/>
              </p:custDataLst>
            </p:nvPr>
          </p:nvSpPr>
          <p:spPr bwMode="auto">
            <a:xfrm flipV="1">
              <a:off x="3079750" y="3887788"/>
              <a:ext cx="11113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4" name="Freeform 65">
              <a:extLst>
                <a:ext uri="{FF2B5EF4-FFF2-40B4-BE49-F238E27FC236}">
                  <a16:creationId xmlns:a16="http://schemas.microsoft.com/office/drawing/2014/main" id="{61E8B561-CD47-4325-BF48-5044FC4DA3EA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2012950" y="3500438"/>
              <a:ext cx="1252538" cy="622300"/>
            </a:xfrm>
            <a:custGeom>
              <a:avLst/>
              <a:gdLst>
                <a:gd name="T0" fmla="*/ 157956 w 1578"/>
                <a:gd name="T1" fmla="*/ 3171 h 785"/>
                <a:gd name="T2" fmla="*/ 171450 w 1578"/>
                <a:gd name="T3" fmla="*/ 6342 h 785"/>
                <a:gd name="T4" fmla="*/ 175419 w 1578"/>
                <a:gd name="T5" fmla="*/ 22197 h 785"/>
                <a:gd name="T6" fmla="*/ 196056 w 1578"/>
                <a:gd name="T7" fmla="*/ 19026 h 785"/>
                <a:gd name="T8" fmla="*/ 203200 w 1578"/>
                <a:gd name="T9" fmla="*/ 22197 h 785"/>
                <a:gd name="T10" fmla="*/ 220663 w 1578"/>
                <a:gd name="T11" fmla="*/ 25368 h 785"/>
                <a:gd name="T12" fmla="*/ 199231 w 1578"/>
                <a:gd name="T13" fmla="*/ 38051 h 785"/>
                <a:gd name="T14" fmla="*/ 199231 w 1578"/>
                <a:gd name="T15" fmla="*/ 53906 h 785"/>
                <a:gd name="T16" fmla="*/ 207169 w 1578"/>
                <a:gd name="T17" fmla="*/ 53906 h 785"/>
                <a:gd name="T18" fmla="*/ 213519 w 1578"/>
                <a:gd name="T19" fmla="*/ 31710 h 785"/>
                <a:gd name="T20" fmla="*/ 223838 w 1578"/>
                <a:gd name="T21" fmla="*/ 38051 h 785"/>
                <a:gd name="T22" fmla="*/ 227806 w 1578"/>
                <a:gd name="T23" fmla="*/ 47564 h 785"/>
                <a:gd name="T24" fmla="*/ 227806 w 1578"/>
                <a:gd name="T25" fmla="*/ 57077 h 785"/>
                <a:gd name="T26" fmla="*/ 247650 w 1578"/>
                <a:gd name="T27" fmla="*/ 44393 h 785"/>
                <a:gd name="T28" fmla="*/ 268288 w 1578"/>
                <a:gd name="T29" fmla="*/ 34881 h 785"/>
                <a:gd name="T30" fmla="*/ 300038 w 1578"/>
                <a:gd name="T31" fmla="*/ 15855 h 785"/>
                <a:gd name="T32" fmla="*/ 306388 w 1578"/>
                <a:gd name="T33" fmla="*/ 19026 h 785"/>
                <a:gd name="T34" fmla="*/ 313531 w 1578"/>
                <a:gd name="T35" fmla="*/ 34881 h 785"/>
                <a:gd name="T36" fmla="*/ 300038 w 1578"/>
                <a:gd name="T37" fmla="*/ 41222 h 785"/>
                <a:gd name="T38" fmla="*/ 292894 w 1578"/>
                <a:gd name="T39" fmla="*/ 57077 h 785"/>
                <a:gd name="T40" fmla="*/ 296069 w 1578"/>
                <a:gd name="T41" fmla="*/ 57077 h 785"/>
                <a:gd name="T42" fmla="*/ 275431 w 1578"/>
                <a:gd name="T43" fmla="*/ 63419 h 785"/>
                <a:gd name="T44" fmla="*/ 265113 w 1578"/>
                <a:gd name="T45" fmla="*/ 69761 h 785"/>
                <a:gd name="T46" fmla="*/ 265113 w 1578"/>
                <a:gd name="T47" fmla="*/ 79274 h 785"/>
                <a:gd name="T48" fmla="*/ 261938 w 1578"/>
                <a:gd name="T49" fmla="*/ 72932 h 785"/>
                <a:gd name="T50" fmla="*/ 261938 w 1578"/>
                <a:gd name="T51" fmla="*/ 79274 h 785"/>
                <a:gd name="T52" fmla="*/ 261938 w 1578"/>
                <a:gd name="T53" fmla="*/ 101471 h 785"/>
                <a:gd name="T54" fmla="*/ 234156 w 1578"/>
                <a:gd name="T55" fmla="*/ 123667 h 785"/>
                <a:gd name="T56" fmla="*/ 237331 w 1578"/>
                <a:gd name="T57" fmla="*/ 155377 h 785"/>
                <a:gd name="T58" fmla="*/ 227806 w 1578"/>
                <a:gd name="T59" fmla="*/ 133180 h 785"/>
                <a:gd name="T60" fmla="*/ 213519 w 1578"/>
                <a:gd name="T61" fmla="*/ 126838 h 785"/>
                <a:gd name="T62" fmla="*/ 199231 w 1578"/>
                <a:gd name="T63" fmla="*/ 123667 h 785"/>
                <a:gd name="T64" fmla="*/ 192881 w 1578"/>
                <a:gd name="T65" fmla="*/ 126838 h 785"/>
                <a:gd name="T66" fmla="*/ 188913 w 1578"/>
                <a:gd name="T67" fmla="*/ 133180 h 785"/>
                <a:gd name="T68" fmla="*/ 175419 w 1578"/>
                <a:gd name="T69" fmla="*/ 130009 h 785"/>
                <a:gd name="T70" fmla="*/ 161131 w 1578"/>
                <a:gd name="T71" fmla="*/ 130009 h 785"/>
                <a:gd name="T72" fmla="*/ 148431 w 1578"/>
                <a:gd name="T73" fmla="*/ 142693 h 785"/>
                <a:gd name="T74" fmla="*/ 123825 w 1578"/>
                <a:gd name="T75" fmla="*/ 130009 h 785"/>
                <a:gd name="T76" fmla="*/ 114300 w 1578"/>
                <a:gd name="T77" fmla="*/ 133180 h 785"/>
                <a:gd name="T78" fmla="*/ 99219 w 1578"/>
                <a:gd name="T79" fmla="*/ 117325 h 785"/>
                <a:gd name="T80" fmla="*/ 41275 w 1578"/>
                <a:gd name="T81" fmla="*/ 114154 h 785"/>
                <a:gd name="T82" fmla="*/ 34925 w 1578"/>
                <a:gd name="T83" fmla="*/ 104642 h 785"/>
                <a:gd name="T84" fmla="*/ 14288 w 1578"/>
                <a:gd name="T85" fmla="*/ 91958 h 785"/>
                <a:gd name="T86" fmla="*/ 10319 w 1578"/>
                <a:gd name="T87" fmla="*/ 82445 h 785"/>
                <a:gd name="T88" fmla="*/ 7144 w 1578"/>
                <a:gd name="T89" fmla="*/ 79274 h 785"/>
                <a:gd name="T90" fmla="*/ 3969 w 1578"/>
                <a:gd name="T91" fmla="*/ 69761 h 785"/>
                <a:gd name="T92" fmla="*/ 0 w 1578"/>
                <a:gd name="T93" fmla="*/ 47564 h 785"/>
                <a:gd name="T94" fmla="*/ 3969 w 1578"/>
                <a:gd name="T95" fmla="*/ 25368 h 785"/>
                <a:gd name="T96" fmla="*/ 10319 w 1578"/>
                <a:gd name="T97" fmla="*/ 12684 h 785"/>
                <a:gd name="T98" fmla="*/ 10319 w 1578"/>
                <a:gd name="T99" fmla="*/ 6342 h 7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78"/>
                <a:gd name="T151" fmla="*/ 0 h 785"/>
                <a:gd name="T152" fmla="*/ 1578 w 1578"/>
                <a:gd name="T153" fmla="*/ 785 h 7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78" h="785">
                  <a:moveTo>
                    <a:pt x="52" y="17"/>
                  </a:moveTo>
                  <a:lnTo>
                    <a:pt x="52" y="17"/>
                  </a:lnTo>
                  <a:lnTo>
                    <a:pt x="797" y="17"/>
                  </a:lnTo>
                  <a:lnTo>
                    <a:pt x="814" y="0"/>
                  </a:lnTo>
                  <a:lnTo>
                    <a:pt x="832" y="33"/>
                  </a:lnTo>
                  <a:lnTo>
                    <a:pt x="866" y="33"/>
                  </a:lnTo>
                  <a:lnTo>
                    <a:pt x="903" y="65"/>
                  </a:lnTo>
                  <a:lnTo>
                    <a:pt x="955" y="65"/>
                  </a:lnTo>
                  <a:lnTo>
                    <a:pt x="884" y="113"/>
                  </a:lnTo>
                  <a:lnTo>
                    <a:pt x="920" y="96"/>
                  </a:lnTo>
                  <a:lnTo>
                    <a:pt x="937" y="113"/>
                  </a:lnTo>
                  <a:lnTo>
                    <a:pt x="989" y="96"/>
                  </a:lnTo>
                  <a:lnTo>
                    <a:pt x="989" y="113"/>
                  </a:lnTo>
                  <a:lnTo>
                    <a:pt x="1006" y="96"/>
                  </a:lnTo>
                  <a:lnTo>
                    <a:pt x="1024" y="113"/>
                  </a:lnTo>
                  <a:lnTo>
                    <a:pt x="1076" y="113"/>
                  </a:lnTo>
                  <a:lnTo>
                    <a:pt x="1093" y="113"/>
                  </a:lnTo>
                  <a:lnTo>
                    <a:pt x="1110" y="129"/>
                  </a:lnTo>
                  <a:lnTo>
                    <a:pt x="1110" y="144"/>
                  </a:lnTo>
                  <a:lnTo>
                    <a:pt x="1024" y="144"/>
                  </a:lnTo>
                  <a:lnTo>
                    <a:pt x="1006" y="192"/>
                  </a:lnTo>
                  <a:lnTo>
                    <a:pt x="1024" y="177"/>
                  </a:lnTo>
                  <a:lnTo>
                    <a:pt x="1006" y="240"/>
                  </a:lnTo>
                  <a:lnTo>
                    <a:pt x="1006" y="273"/>
                  </a:lnTo>
                  <a:lnTo>
                    <a:pt x="1006" y="288"/>
                  </a:lnTo>
                  <a:lnTo>
                    <a:pt x="1024" y="288"/>
                  </a:lnTo>
                  <a:lnTo>
                    <a:pt x="1041" y="273"/>
                  </a:lnTo>
                  <a:lnTo>
                    <a:pt x="1041" y="209"/>
                  </a:lnTo>
                  <a:lnTo>
                    <a:pt x="1058" y="177"/>
                  </a:lnTo>
                  <a:lnTo>
                    <a:pt x="1076" y="161"/>
                  </a:lnTo>
                  <a:lnTo>
                    <a:pt x="1076" y="144"/>
                  </a:lnTo>
                  <a:lnTo>
                    <a:pt x="1127" y="161"/>
                  </a:lnTo>
                  <a:lnTo>
                    <a:pt x="1127" y="192"/>
                  </a:lnTo>
                  <a:lnTo>
                    <a:pt x="1110" y="225"/>
                  </a:lnTo>
                  <a:lnTo>
                    <a:pt x="1145" y="209"/>
                  </a:lnTo>
                  <a:lnTo>
                    <a:pt x="1145" y="240"/>
                  </a:lnTo>
                  <a:lnTo>
                    <a:pt x="1162" y="240"/>
                  </a:lnTo>
                  <a:lnTo>
                    <a:pt x="1127" y="288"/>
                  </a:lnTo>
                  <a:lnTo>
                    <a:pt x="1145" y="288"/>
                  </a:lnTo>
                  <a:lnTo>
                    <a:pt x="1179" y="288"/>
                  </a:lnTo>
                  <a:lnTo>
                    <a:pt x="1248" y="240"/>
                  </a:lnTo>
                  <a:lnTo>
                    <a:pt x="1248" y="225"/>
                  </a:lnTo>
                  <a:lnTo>
                    <a:pt x="1317" y="225"/>
                  </a:lnTo>
                  <a:lnTo>
                    <a:pt x="1317" y="192"/>
                  </a:lnTo>
                  <a:lnTo>
                    <a:pt x="1352" y="177"/>
                  </a:lnTo>
                  <a:lnTo>
                    <a:pt x="1438" y="177"/>
                  </a:lnTo>
                  <a:lnTo>
                    <a:pt x="1475" y="161"/>
                  </a:lnTo>
                  <a:lnTo>
                    <a:pt x="1509" y="81"/>
                  </a:lnTo>
                  <a:lnTo>
                    <a:pt x="1527" y="96"/>
                  </a:lnTo>
                  <a:lnTo>
                    <a:pt x="1544" y="81"/>
                  </a:lnTo>
                  <a:lnTo>
                    <a:pt x="1544" y="96"/>
                  </a:lnTo>
                  <a:lnTo>
                    <a:pt x="1561" y="144"/>
                  </a:lnTo>
                  <a:lnTo>
                    <a:pt x="1578" y="161"/>
                  </a:lnTo>
                  <a:lnTo>
                    <a:pt x="1578" y="177"/>
                  </a:lnTo>
                  <a:lnTo>
                    <a:pt x="1561" y="192"/>
                  </a:lnTo>
                  <a:lnTo>
                    <a:pt x="1527" y="192"/>
                  </a:lnTo>
                  <a:lnTo>
                    <a:pt x="1509" y="209"/>
                  </a:lnTo>
                  <a:lnTo>
                    <a:pt x="1492" y="225"/>
                  </a:lnTo>
                  <a:lnTo>
                    <a:pt x="1456" y="257"/>
                  </a:lnTo>
                  <a:lnTo>
                    <a:pt x="1475" y="288"/>
                  </a:lnTo>
                  <a:lnTo>
                    <a:pt x="1492" y="288"/>
                  </a:lnTo>
                  <a:lnTo>
                    <a:pt x="1492" y="273"/>
                  </a:lnTo>
                  <a:lnTo>
                    <a:pt x="1492" y="288"/>
                  </a:lnTo>
                  <a:lnTo>
                    <a:pt x="1456" y="288"/>
                  </a:lnTo>
                  <a:lnTo>
                    <a:pt x="1404" y="305"/>
                  </a:lnTo>
                  <a:lnTo>
                    <a:pt x="1387" y="321"/>
                  </a:lnTo>
                  <a:lnTo>
                    <a:pt x="1369" y="369"/>
                  </a:lnTo>
                  <a:lnTo>
                    <a:pt x="1352" y="369"/>
                  </a:lnTo>
                  <a:lnTo>
                    <a:pt x="1335" y="353"/>
                  </a:lnTo>
                  <a:lnTo>
                    <a:pt x="1352" y="384"/>
                  </a:lnTo>
                  <a:lnTo>
                    <a:pt x="1335" y="432"/>
                  </a:lnTo>
                  <a:lnTo>
                    <a:pt x="1335" y="401"/>
                  </a:lnTo>
                  <a:lnTo>
                    <a:pt x="1317" y="384"/>
                  </a:lnTo>
                  <a:lnTo>
                    <a:pt x="1335" y="353"/>
                  </a:lnTo>
                  <a:lnTo>
                    <a:pt x="1317" y="369"/>
                  </a:lnTo>
                  <a:lnTo>
                    <a:pt x="1317" y="401"/>
                  </a:lnTo>
                  <a:lnTo>
                    <a:pt x="1300" y="401"/>
                  </a:lnTo>
                  <a:lnTo>
                    <a:pt x="1317" y="401"/>
                  </a:lnTo>
                  <a:lnTo>
                    <a:pt x="1317" y="432"/>
                  </a:lnTo>
                  <a:lnTo>
                    <a:pt x="1335" y="480"/>
                  </a:lnTo>
                  <a:lnTo>
                    <a:pt x="1317" y="512"/>
                  </a:lnTo>
                  <a:lnTo>
                    <a:pt x="1248" y="545"/>
                  </a:lnTo>
                  <a:lnTo>
                    <a:pt x="1196" y="593"/>
                  </a:lnTo>
                  <a:lnTo>
                    <a:pt x="1179" y="624"/>
                  </a:lnTo>
                  <a:lnTo>
                    <a:pt x="1214" y="737"/>
                  </a:lnTo>
                  <a:lnTo>
                    <a:pt x="1214" y="785"/>
                  </a:lnTo>
                  <a:lnTo>
                    <a:pt x="1196" y="785"/>
                  </a:lnTo>
                  <a:lnTo>
                    <a:pt x="1179" y="768"/>
                  </a:lnTo>
                  <a:lnTo>
                    <a:pt x="1145" y="737"/>
                  </a:lnTo>
                  <a:lnTo>
                    <a:pt x="1145" y="672"/>
                  </a:lnTo>
                  <a:lnTo>
                    <a:pt x="1110" y="641"/>
                  </a:lnTo>
                  <a:lnTo>
                    <a:pt x="1076" y="656"/>
                  </a:lnTo>
                  <a:lnTo>
                    <a:pt x="1076" y="641"/>
                  </a:lnTo>
                  <a:lnTo>
                    <a:pt x="1041" y="641"/>
                  </a:lnTo>
                  <a:lnTo>
                    <a:pt x="1006" y="641"/>
                  </a:lnTo>
                  <a:lnTo>
                    <a:pt x="1006" y="624"/>
                  </a:lnTo>
                  <a:lnTo>
                    <a:pt x="955" y="641"/>
                  </a:lnTo>
                  <a:lnTo>
                    <a:pt x="937" y="641"/>
                  </a:lnTo>
                  <a:lnTo>
                    <a:pt x="972" y="641"/>
                  </a:lnTo>
                  <a:lnTo>
                    <a:pt x="955" y="656"/>
                  </a:lnTo>
                  <a:lnTo>
                    <a:pt x="972" y="672"/>
                  </a:lnTo>
                  <a:lnTo>
                    <a:pt x="955" y="672"/>
                  </a:lnTo>
                  <a:lnTo>
                    <a:pt x="920" y="672"/>
                  </a:lnTo>
                  <a:lnTo>
                    <a:pt x="903" y="656"/>
                  </a:lnTo>
                  <a:lnTo>
                    <a:pt x="884" y="656"/>
                  </a:lnTo>
                  <a:lnTo>
                    <a:pt x="849" y="656"/>
                  </a:lnTo>
                  <a:lnTo>
                    <a:pt x="814" y="672"/>
                  </a:lnTo>
                  <a:lnTo>
                    <a:pt x="814" y="656"/>
                  </a:lnTo>
                  <a:lnTo>
                    <a:pt x="797" y="656"/>
                  </a:lnTo>
                  <a:lnTo>
                    <a:pt x="814" y="672"/>
                  </a:lnTo>
                  <a:lnTo>
                    <a:pt x="745" y="720"/>
                  </a:lnTo>
                  <a:lnTo>
                    <a:pt x="745" y="768"/>
                  </a:lnTo>
                  <a:lnTo>
                    <a:pt x="693" y="752"/>
                  </a:lnTo>
                  <a:lnTo>
                    <a:pt x="624" y="656"/>
                  </a:lnTo>
                  <a:lnTo>
                    <a:pt x="607" y="656"/>
                  </a:lnTo>
                  <a:lnTo>
                    <a:pt x="590" y="672"/>
                  </a:lnTo>
                  <a:lnTo>
                    <a:pt x="573" y="672"/>
                  </a:lnTo>
                  <a:lnTo>
                    <a:pt x="538" y="656"/>
                  </a:lnTo>
                  <a:lnTo>
                    <a:pt x="538" y="624"/>
                  </a:lnTo>
                  <a:lnTo>
                    <a:pt x="503" y="593"/>
                  </a:lnTo>
                  <a:lnTo>
                    <a:pt x="365" y="608"/>
                  </a:lnTo>
                  <a:lnTo>
                    <a:pt x="260" y="576"/>
                  </a:lnTo>
                  <a:lnTo>
                    <a:pt x="208" y="576"/>
                  </a:lnTo>
                  <a:lnTo>
                    <a:pt x="190" y="545"/>
                  </a:lnTo>
                  <a:lnTo>
                    <a:pt x="173" y="545"/>
                  </a:lnTo>
                  <a:lnTo>
                    <a:pt x="173" y="528"/>
                  </a:lnTo>
                  <a:lnTo>
                    <a:pt x="104" y="512"/>
                  </a:lnTo>
                  <a:lnTo>
                    <a:pt x="104" y="497"/>
                  </a:lnTo>
                  <a:lnTo>
                    <a:pt x="70" y="464"/>
                  </a:lnTo>
                  <a:lnTo>
                    <a:pt x="70" y="432"/>
                  </a:lnTo>
                  <a:lnTo>
                    <a:pt x="52" y="432"/>
                  </a:lnTo>
                  <a:lnTo>
                    <a:pt x="52" y="416"/>
                  </a:lnTo>
                  <a:lnTo>
                    <a:pt x="70" y="416"/>
                  </a:lnTo>
                  <a:lnTo>
                    <a:pt x="70" y="401"/>
                  </a:lnTo>
                  <a:lnTo>
                    <a:pt x="35" y="401"/>
                  </a:lnTo>
                  <a:lnTo>
                    <a:pt x="52" y="401"/>
                  </a:lnTo>
                  <a:lnTo>
                    <a:pt x="18" y="369"/>
                  </a:lnTo>
                  <a:lnTo>
                    <a:pt x="18" y="353"/>
                  </a:lnTo>
                  <a:lnTo>
                    <a:pt x="0" y="336"/>
                  </a:lnTo>
                  <a:lnTo>
                    <a:pt x="18" y="288"/>
                  </a:lnTo>
                  <a:lnTo>
                    <a:pt x="0" y="240"/>
                  </a:lnTo>
                  <a:lnTo>
                    <a:pt x="18" y="129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2" y="65"/>
                  </a:lnTo>
                  <a:lnTo>
                    <a:pt x="35" y="81"/>
                  </a:lnTo>
                  <a:lnTo>
                    <a:pt x="52" y="81"/>
                  </a:lnTo>
                  <a:lnTo>
                    <a:pt x="52" y="33"/>
                  </a:lnTo>
                  <a:lnTo>
                    <a:pt x="52" y="17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5" name="Freeform 66">
              <a:extLst>
                <a:ext uri="{FF2B5EF4-FFF2-40B4-BE49-F238E27FC236}">
                  <a16:creationId xmlns:a16="http://schemas.microsoft.com/office/drawing/2014/main" id="{0E14EF85-377D-4193-AAC1-F286CD1DD625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3113088" y="5875338"/>
              <a:ext cx="111125" cy="100013"/>
            </a:xfrm>
            <a:custGeom>
              <a:avLst/>
              <a:gdLst>
                <a:gd name="T0" fmla="*/ 27781 w 140"/>
                <a:gd name="T1" fmla="*/ 19050 h 126"/>
                <a:gd name="T2" fmla="*/ 27781 w 140"/>
                <a:gd name="T3" fmla="*/ 19050 h 126"/>
                <a:gd name="T4" fmla="*/ 27781 w 140"/>
                <a:gd name="T5" fmla="*/ 0 h 126"/>
                <a:gd name="T6" fmla="*/ 19844 w 140"/>
                <a:gd name="T7" fmla="*/ 3175 h 126"/>
                <a:gd name="T8" fmla="*/ 16669 w 140"/>
                <a:gd name="T9" fmla="*/ 6350 h 126"/>
                <a:gd name="T10" fmla="*/ 19844 w 140"/>
                <a:gd name="T11" fmla="*/ 9525 h 126"/>
                <a:gd name="T12" fmla="*/ 23812 w 140"/>
                <a:gd name="T13" fmla="*/ 6350 h 126"/>
                <a:gd name="T14" fmla="*/ 23812 w 140"/>
                <a:gd name="T15" fmla="*/ 9525 h 126"/>
                <a:gd name="T16" fmla="*/ 19844 w 140"/>
                <a:gd name="T17" fmla="*/ 9525 h 126"/>
                <a:gd name="T18" fmla="*/ 19844 w 140"/>
                <a:gd name="T19" fmla="*/ 15875 h 126"/>
                <a:gd name="T20" fmla="*/ 19844 w 140"/>
                <a:gd name="T21" fmla="*/ 12700 h 126"/>
                <a:gd name="T22" fmla="*/ 16669 w 140"/>
                <a:gd name="T23" fmla="*/ 12700 h 126"/>
                <a:gd name="T24" fmla="*/ 14287 w 140"/>
                <a:gd name="T25" fmla="*/ 12700 h 126"/>
                <a:gd name="T26" fmla="*/ 3175 w 140"/>
                <a:gd name="T27" fmla="*/ 6350 h 126"/>
                <a:gd name="T28" fmla="*/ 0 w 140"/>
                <a:gd name="T29" fmla="*/ 9525 h 126"/>
                <a:gd name="T30" fmla="*/ 3175 w 140"/>
                <a:gd name="T31" fmla="*/ 12700 h 126"/>
                <a:gd name="T32" fmla="*/ 7144 w 140"/>
                <a:gd name="T33" fmla="*/ 12700 h 126"/>
                <a:gd name="T34" fmla="*/ 7144 w 140"/>
                <a:gd name="T35" fmla="*/ 15875 h 126"/>
                <a:gd name="T36" fmla="*/ 9525 w 140"/>
                <a:gd name="T37" fmla="*/ 15875 h 126"/>
                <a:gd name="T38" fmla="*/ 9525 w 140"/>
                <a:gd name="T39" fmla="*/ 19050 h 126"/>
                <a:gd name="T40" fmla="*/ 16669 w 140"/>
                <a:gd name="T41" fmla="*/ 22225 h 126"/>
                <a:gd name="T42" fmla="*/ 19844 w 140"/>
                <a:gd name="T43" fmla="*/ 22225 h 126"/>
                <a:gd name="T44" fmla="*/ 23812 w 140"/>
                <a:gd name="T45" fmla="*/ 25400 h 126"/>
                <a:gd name="T46" fmla="*/ 27781 w 140"/>
                <a:gd name="T47" fmla="*/ 19050 h 12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0"/>
                <a:gd name="T73" fmla="*/ 0 h 126"/>
                <a:gd name="T74" fmla="*/ 140 w 140"/>
                <a:gd name="T75" fmla="*/ 126 h 12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0" h="126">
                  <a:moveTo>
                    <a:pt x="140" y="96"/>
                  </a:moveTo>
                  <a:lnTo>
                    <a:pt x="140" y="96"/>
                  </a:lnTo>
                  <a:lnTo>
                    <a:pt x="140" y="0"/>
                  </a:lnTo>
                  <a:lnTo>
                    <a:pt x="103" y="15"/>
                  </a:lnTo>
                  <a:lnTo>
                    <a:pt x="86" y="30"/>
                  </a:lnTo>
                  <a:lnTo>
                    <a:pt x="103" y="48"/>
                  </a:lnTo>
                  <a:lnTo>
                    <a:pt x="122" y="30"/>
                  </a:lnTo>
                  <a:lnTo>
                    <a:pt x="122" y="48"/>
                  </a:lnTo>
                  <a:lnTo>
                    <a:pt x="103" y="48"/>
                  </a:lnTo>
                  <a:lnTo>
                    <a:pt x="103" y="78"/>
                  </a:lnTo>
                  <a:lnTo>
                    <a:pt x="103" y="63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17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34" y="63"/>
                  </a:lnTo>
                  <a:lnTo>
                    <a:pt x="34" y="78"/>
                  </a:lnTo>
                  <a:lnTo>
                    <a:pt x="51" y="78"/>
                  </a:lnTo>
                  <a:lnTo>
                    <a:pt x="51" y="96"/>
                  </a:lnTo>
                  <a:lnTo>
                    <a:pt x="86" y="111"/>
                  </a:lnTo>
                  <a:lnTo>
                    <a:pt x="103" y="111"/>
                  </a:lnTo>
                  <a:lnTo>
                    <a:pt x="122" y="126"/>
                  </a:lnTo>
                  <a:lnTo>
                    <a:pt x="140" y="9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6" name="Freeform 67">
              <a:extLst>
                <a:ext uri="{FF2B5EF4-FFF2-40B4-BE49-F238E27FC236}">
                  <a16:creationId xmlns:a16="http://schemas.microsoft.com/office/drawing/2014/main" id="{D4E8D0B4-0A93-453D-83C1-62E41CF7C6CE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224213" y="5875338"/>
              <a:ext cx="82550" cy="114300"/>
            </a:xfrm>
            <a:custGeom>
              <a:avLst/>
              <a:gdLst>
                <a:gd name="T0" fmla="*/ 0 w 103"/>
                <a:gd name="T1" fmla="*/ 19050 h 144"/>
                <a:gd name="T2" fmla="*/ 0 w 103"/>
                <a:gd name="T3" fmla="*/ 19050 h 144"/>
                <a:gd name="T4" fmla="*/ 0 w 103"/>
                <a:gd name="T5" fmla="*/ 0 h 144"/>
                <a:gd name="T6" fmla="*/ 4007 w 103"/>
                <a:gd name="T7" fmla="*/ 9525 h 144"/>
                <a:gd name="T8" fmla="*/ 14426 w 103"/>
                <a:gd name="T9" fmla="*/ 15081 h 144"/>
                <a:gd name="T10" fmla="*/ 20838 w 103"/>
                <a:gd name="T11" fmla="*/ 19050 h 144"/>
                <a:gd name="T12" fmla="*/ 17632 w 103"/>
                <a:gd name="T13" fmla="*/ 21431 h 144"/>
                <a:gd name="T14" fmla="*/ 7213 w 103"/>
                <a:gd name="T15" fmla="*/ 24606 h 144"/>
                <a:gd name="T16" fmla="*/ 4007 w 103"/>
                <a:gd name="T17" fmla="*/ 28575 h 144"/>
                <a:gd name="T18" fmla="*/ 0 w 103"/>
                <a:gd name="T19" fmla="*/ 19050 h 1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3"/>
                <a:gd name="T31" fmla="*/ 0 h 144"/>
                <a:gd name="T32" fmla="*/ 103 w 103"/>
                <a:gd name="T33" fmla="*/ 144 h 1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3" h="144">
                  <a:moveTo>
                    <a:pt x="0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17" y="48"/>
                  </a:lnTo>
                  <a:lnTo>
                    <a:pt x="69" y="78"/>
                  </a:lnTo>
                  <a:lnTo>
                    <a:pt x="103" y="96"/>
                  </a:lnTo>
                  <a:lnTo>
                    <a:pt x="86" y="111"/>
                  </a:lnTo>
                  <a:lnTo>
                    <a:pt x="34" y="126"/>
                  </a:lnTo>
                  <a:lnTo>
                    <a:pt x="17" y="144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7" name="Freeform 68">
              <a:extLst>
                <a:ext uri="{FF2B5EF4-FFF2-40B4-BE49-F238E27FC236}">
                  <a16:creationId xmlns:a16="http://schemas.microsoft.com/office/drawing/2014/main" id="{771A3DDA-CCC1-4372-9E23-DA42FBEE214D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2728913" y="4643438"/>
              <a:ext cx="12700" cy="25400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3387 w 15"/>
                <a:gd name="T5" fmla="*/ 3079 h 33"/>
                <a:gd name="T6" fmla="*/ 0 w 15"/>
                <a:gd name="T7" fmla="*/ 3079 h 33"/>
                <a:gd name="T8" fmla="*/ 3387 w 15"/>
                <a:gd name="T9" fmla="*/ 6158 h 33"/>
                <a:gd name="T10" fmla="*/ 3387 w 15"/>
                <a:gd name="T11" fmla="*/ 3079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8" name="Freeform 69">
              <a:extLst>
                <a:ext uri="{FF2B5EF4-FFF2-40B4-BE49-F238E27FC236}">
                  <a16:creationId xmlns:a16="http://schemas.microsoft.com/office/drawing/2014/main" id="{B1CFC2D9-1E7B-4B52-A12D-F23371114133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098800" y="5556251"/>
              <a:ext cx="26988" cy="52388"/>
            </a:xfrm>
            <a:custGeom>
              <a:avLst/>
              <a:gdLst>
                <a:gd name="T0" fmla="*/ 3084 w 35"/>
                <a:gd name="T1" fmla="*/ 0 h 65"/>
                <a:gd name="T2" fmla="*/ 3084 w 35"/>
                <a:gd name="T3" fmla="*/ 0 h 65"/>
                <a:gd name="T4" fmla="*/ 0 w 35"/>
                <a:gd name="T5" fmla="*/ 9672 h 65"/>
                <a:gd name="T6" fmla="*/ 3084 w 35"/>
                <a:gd name="T7" fmla="*/ 13701 h 65"/>
                <a:gd name="T8" fmla="*/ 6169 w 35"/>
                <a:gd name="T9" fmla="*/ 4030 h 65"/>
                <a:gd name="T10" fmla="*/ 3084 w 35"/>
                <a:gd name="T11" fmla="*/ 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65"/>
                <a:gd name="T20" fmla="*/ 35 w 3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65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35" y="17"/>
                  </a:lnTo>
                  <a:lnTo>
                    <a:pt x="18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09" name="Freeform 70">
              <a:extLst>
                <a:ext uri="{FF2B5EF4-FFF2-40B4-BE49-F238E27FC236}">
                  <a16:creationId xmlns:a16="http://schemas.microsoft.com/office/drawing/2014/main" id="{8CE1632C-AC80-43F7-98FC-65C30A4727BC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387725" y="5837238"/>
              <a:ext cx="69850" cy="38100"/>
            </a:xfrm>
            <a:custGeom>
              <a:avLst/>
              <a:gdLst>
                <a:gd name="T0" fmla="*/ 0 w 88"/>
                <a:gd name="T1" fmla="*/ 2381 h 48"/>
                <a:gd name="T2" fmla="*/ 0 w 88"/>
                <a:gd name="T3" fmla="*/ 2381 h 48"/>
                <a:gd name="T4" fmla="*/ 3969 w 88"/>
                <a:gd name="T5" fmla="*/ 5556 h 48"/>
                <a:gd name="T6" fmla="*/ 7144 w 88"/>
                <a:gd name="T7" fmla="*/ 5556 h 48"/>
                <a:gd name="T8" fmla="*/ 10319 w 88"/>
                <a:gd name="T9" fmla="*/ 9525 h 48"/>
                <a:gd name="T10" fmla="*/ 17463 w 88"/>
                <a:gd name="T11" fmla="*/ 2381 h 48"/>
                <a:gd name="T12" fmla="*/ 17463 w 88"/>
                <a:gd name="T13" fmla="*/ 0 h 48"/>
                <a:gd name="T14" fmla="*/ 7144 w 88"/>
                <a:gd name="T15" fmla="*/ 0 h 48"/>
                <a:gd name="T16" fmla="*/ 3969 w 88"/>
                <a:gd name="T17" fmla="*/ 0 h 48"/>
                <a:gd name="T18" fmla="*/ 7144 w 88"/>
                <a:gd name="T19" fmla="*/ 2381 h 48"/>
                <a:gd name="T20" fmla="*/ 3969 w 88"/>
                <a:gd name="T21" fmla="*/ 5556 h 48"/>
                <a:gd name="T22" fmla="*/ 0 w 88"/>
                <a:gd name="T23" fmla="*/ 2381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8"/>
                <a:gd name="T37" fmla="*/ 0 h 48"/>
                <a:gd name="T38" fmla="*/ 88 w 88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8" h="48">
                  <a:moveTo>
                    <a:pt x="0" y="15"/>
                  </a:moveTo>
                  <a:lnTo>
                    <a:pt x="0" y="15"/>
                  </a:lnTo>
                  <a:lnTo>
                    <a:pt x="17" y="30"/>
                  </a:lnTo>
                  <a:lnTo>
                    <a:pt x="35" y="30"/>
                  </a:lnTo>
                  <a:lnTo>
                    <a:pt x="52" y="48"/>
                  </a:lnTo>
                  <a:lnTo>
                    <a:pt x="88" y="15"/>
                  </a:lnTo>
                  <a:lnTo>
                    <a:pt x="88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35" y="15"/>
                  </a:lnTo>
                  <a:lnTo>
                    <a:pt x="17" y="3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0" name="Freeform 71">
              <a:extLst>
                <a:ext uri="{FF2B5EF4-FFF2-40B4-BE49-F238E27FC236}">
                  <a16:creationId xmlns:a16="http://schemas.microsoft.com/office/drawing/2014/main" id="{71614D33-6E4D-460D-A976-5E7B82C8BD29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071813" y="5003801"/>
              <a:ext cx="177800" cy="925513"/>
            </a:xfrm>
            <a:custGeom>
              <a:avLst/>
              <a:gdLst>
                <a:gd name="T0" fmla="*/ 27781 w 224"/>
                <a:gd name="T1" fmla="*/ 3172 h 1167"/>
                <a:gd name="T2" fmla="*/ 38100 w 224"/>
                <a:gd name="T3" fmla="*/ 9517 h 1167"/>
                <a:gd name="T4" fmla="*/ 41275 w 224"/>
                <a:gd name="T5" fmla="*/ 28551 h 1167"/>
                <a:gd name="T6" fmla="*/ 44450 w 224"/>
                <a:gd name="T7" fmla="*/ 34102 h 1167"/>
                <a:gd name="T8" fmla="*/ 41275 w 224"/>
                <a:gd name="T9" fmla="*/ 47584 h 1167"/>
                <a:gd name="T10" fmla="*/ 27781 w 224"/>
                <a:gd name="T11" fmla="*/ 76135 h 1167"/>
                <a:gd name="T12" fmla="*/ 27781 w 224"/>
                <a:gd name="T13" fmla="*/ 97548 h 1167"/>
                <a:gd name="T14" fmla="*/ 23812 w 224"/>
                <a:gd name="T15" fmla="*/ 107064 h 1167"/>
                <a:gd name="T16" fmla="*/ 20638 w 224"/>
                <a:gd name="T17" fmla="*/ 126098 h 1167"/>
                <a:gd name="T18" fmla="*/ 20638 w 224"/>
                <a:gd name="T19" fmla="*/ 145132 h 1167"/>
                <a:gd name="T20" fmla="*/ 23812 w 224"/>
                <a:gd name="T21" fmla="*/ 157821 h 1167"/>
                <a:gd name="T22" fmla="*/ 20638 w 224"/>
                <a:gd name="T23" fmla="*/ 161786 h 1167"/>
                <a:gd name="T24" fmla="*/ 20638 w 224"/>
                <a:gd name="T25" fmla="*/ 173682 h 1167"/>
                <a:gd name="T26" fmla="*/ 17463 w 224"/>
                <a:gd name="T27" fmla="*/ 186371 h 1167"/>
                <a:gd name="T28" fmla="*/ 14288 w 224"/>
                <a:gd name="T29" fmla="*/ 202233 h 1167"/>
                <a:gd name="T30" fmla="*/ 17463 w 224"/>
                <a:gd name="T31" fmla="*/ 202233 h 1167"/>
                <a:gd name="T32" fmla="*/ 20638 w 224"/>
                <a:gd name="T33" fmla="*/ 214922 h 1167"/>
                <a:gd name="T34" fmla="*/ 38100 w 224"/>
                <a:gd name="T35" fmla="*/ 214922 h 1167"/>
                <a:gd name="T36" fmla="*/ 34131 w 224"/>
                <a:gd name="T37" fmla="*/ 214922 h 1167"/>
                <a:gd name="T38" fmla="*/ 27781 w 224"/>
                <a:gd name="T39" fmla="*/ 221267 h 1167"/>
                <a:gd name="T40" fmla="*/ 23812 w 224"/>
                <a:gd name="T41" fmla="*/ 230783 h 1167"/>
                <a:gd name="T42" fmla="*/ 23812 w 224"/>
                <a:gd name="T43" fmla="*/ 224439 h 1167"/>
                <a:gd name="T44" fmla="*/ 17463 w 224"/>
                <a:gd name="T45" fmla="*/ 224439 h 1167"/>
                <a:gd name="T46" fmla="*/ 14288 w 224"/>
                <a:gd name="T47" fmla="*/ 218887 h 1167"/>
                <a:gd name="T48" fmla="*/ 7144 w 224"/>
                <a:gd name="T49" fmla="*/ 214922 h 1167"/>
                <a:gd name="T50" fmla="*/ 3969 w 224"/>
                <a:gd name="T51" fmla="*/ 214922 h 1167"/>
                <a:gd name="T52" fmla="*/ 7144 w 224"/>
                <a:gd name="T53" fmla="*/ 211750 h 1167"/>
                <a:gd name="T54" fmla="*/ 7144 w 224"/>
                <a:gd name="T55" fmla="*/ 205405 h 1167"/>
                <a:gd name="T56" fmla="*/ 3969 w 224"/>
                <a:gd name="T57" fmla="*/ 211750 h 1167"/>
                <a:gd name="T58" fmla="*/ 7144 w 224"/>
                <a:gd name="T59" fmla="*/ 205405 h 1167"/>
                <a:gd name="T60" fmla="*/ 3969 w 224"/>
                <a:gd name="T61" fmla="*/ 205405 h 1167"/>
                <a:gd name="T62" fmla="*/ 0 w 224"/>
                <a:gd name="T63" fmla="*/ 195888 h 1167"/>
                <a:gd name="T64" fmla="*/ 3969 w 224"/>
                <a:gd name="T65" fmla="*/ 183199 h 1167"/>
                <a:gd name="T66" fmla="*/ 7144 w 224"/>
                <a:gd name="T67" fmla="*/ 186371 h 1167"/>
                <a:gd name="T68" fmla="*/ 3969 w 224"/>
                <a:gd name="T69" fmla="*/ 173682 h 1167"/>
                <a:gd name="T70" fmla="*/ 7144 w 224"/>
                <a:gd name="T71" fmla="*/ 171303 h 1167"/>
                <a:gd name="T72" fmla="*/ 7144 w 224"/>
                <a:gd name="T73" fmla="*/ 167338 h 1167"/>
                <a:gd name="T74" fmla="*/ 10319 w 224"/>
                <a:gd name="T75" fmla="*/ 154649 h 1167"/>
                <a:gd name="T76" fmla="*/ 10319 w 224"/>
                <a:gd name="T77" fmla="*/ 161786 h 1167"/>
                <a:gd name="T78" fmla="*/ 17463 w 224"/>
                <a:gd name="T79" fmla="*/ 142753 h 1167"/>
                <a:gd name="T80" fmla="*/ 14288 w 224"/>
                <a:gd name="T81" fmla="*/ 138787 h 1167"/>
                <a:gd name="T82" fmla="*/ 10319 w 224"/>
                <a:gd name="T83" fmla="*/ 126098 h 1167"/>
                <a:gd name="T84" fmla="*/ 10319 w 224"/>
                <a:gd name="T85" fmla="*/ 114202 h 1167"/>
                <a:gd name="T86" fmla="*/ 23812 w 224"/>
                <a:gd name="T87" fmla="*/ 81686 h 1167"/>
                <a:gd name="T88" fmla="*/ 23812 w 224"/>
                <a:gd name="T89" fmla="*/ 66618 h 1167"/>
                <a:gd name="T90" fmla="*/ 27781 w 224"/>
                <a:gd name="T91" fmla="*/ 47584 h 1167"/>
                <a:gd name="T92" fmla="*/ 30956 w 224"/>
                <a:gd name="T93" fmla="*/ 19034 h 1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4"/>
                <a:gd name="T142" fmla="*/ 0 h 1167"/>
                <a:gd name="T143" fmla="*/ 224 w 224"/>
                <a:gd name="T144" fmla="*/ 1167 h 1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4" h="1167">
                  <a:moveTo>
                    <a:pt x="138" y="16"/>
                  </a:moveTo>
                  <a:lnTo>
                    <a:pt x="138" y="16"/>
                  </a:lnTo>
                  <a:lnTo>
                    <a:pt x="172" y="0"/>
                  </a:lnTo>
                  <a:lnTo>
                    <a:pt x="190" y="48"/>
                  </a:lnTo>
                  <a:lnTo>
                    <a:pt x="190" y="64"/>
                  </a:lnTo>
                  <a:lnTo>
                    <a:pt x="207" y="144"/>
                  </a:lnTo>
                  <a:lnTo>
                    <a:pt x="224" y="144"/>
                  </a:lnTo>
                  <a:lnTo>
                    <a:pt x="224" y="175"/>
                  </a:lnTo>
                  <a:lnTo>
                    <a:pt x="190" y="192"/>
                  </a:lnTo>
                  <a:lnTo>
                    <a:pt x="207" y="240"/>
                  </a:lnTo>
                  <a:lnTo>
                    <a:pt x="172" y="288"/>
                  </a:lnTo>
                  <a:lnTo>
                    <a:pt x="138" y="384"/>
                  </a:lnTo>
                  <a:lnTo>
                    <a:pt x="155" y="447"/>
                  </a:lnTo>
                  <a:lnTo>
                    <a:pt x="138" y="495"/>
                  </a:lnTo>
                  <a:lnTo>
                    <a:pt x="138" y="528"/>
                  </a:lnTo>
                  <a:lnTo>
                    <a:pt x="121" y="543"/>
                  </a:lnTo>
                  <a:lnTo>
                    <a:pt x="121" y="607"/>
                  </a:lnTo>
                  <a:lnTo>
                    <a:pt x="103" y="639"/>
                  </a:lnTo>
                  <a:lnTo>
                    <a:pt x="103" y="703"/>
                  </a:lnTo>
                  <a:lnTo>
                    <a:pt x="103" y="735"/>
                  </a:lnTo>
                  <a:lnTo>
                    <a:pt x="103" y="799"/>
                  </a:lnTo>
                  <a:lnTo>
                    <a:pt x="121" y="799"/>
                  </a:lnTo>
                  <a:lnTo>
                    <a:pt x="121" y="816"/>
                  </a:lnTo>
                  <a:lnTo>
                    <a:pt x="103" y="816"/>
                  </a:lnTo>
                  <a:lnTo>
                    <a:pt x="121" y="816"/>
                  </a:lnTo>
                  <a:lnTo>
                    <a:pt x="103" y="879"/>
                  </a:lnTo>
                  <a:lnTo>
                    <a:pt x="86" y="912"/>
                  </a:lnTo>
                  <a:lnTo>
                    <a:pt x="86" y="942"/>
                  </a:lnTo>
                  <a:lnTo>
                    <a:pt x="69" y="990"/>
                  </a:lnTo>
                  <a:lnTo>
                    <a:pt x="69" y="1023"/>
                  </a:lnTo>
                  <a:lnTo>
                    <a:pt x="69" y="1038"/>
                  </a:lnTo>
                  <a:lnTo>
                    <a:pt x="86" y="1023"/>
                  </a:lnTo>
                  <a:lnTo>
                    <a:pt x="86" y="1071"/>
                  </a:lnTo>
                  <a:lnTo>
                    <a:pt x="103" y="1086"/>
                  </a:lnTo>
                  <a:lnTo>
                    <a:pt x="155" y="1086"/>
                  </a:lnTo>
                  <a:lnTo>
                    <a:pt x="190" y="1086"/>
                  </a:lnTo>
                  <a:lnTo>
                    <a:pt x="190" y="1104"/>
                  </a:lnTo>
                  <a:lnTo>
                    <a:pt x="172" y="1086"/>
                  </a:lnTo>
                  <a:lnTo>
                    <a:pt x="172" y="1104"/>
                  </a:lnTo>
                  <a:lnTo>
                    <a:pt x="138" y="1119"/>
                  </a:lnTo>
                  <a:lnTo>
                    <a:pt x="138" y="1152"/>
                  </a:lnTo>
                  <a:lnTo>
                    <a:pt x="121" y="1167"/>
                  </a:lnTo>
                  <a:lnTo>
                    <a:pt x="103" y="1134"/>
                  </a:lnTo>
                  <a:lnTo>
                    <a:pt x="121" y="1134"/>
                  </a:lnTo>
                  <a:lnTo>
                    <a:pt x="121" y="1119"/>
                  </a:lnTo>
                  <a:lnTo>
                    <a:pt x="86" y="1134"/>
                  </a:lnTo>
                  <a:lnTo>
                    <a:pt x="69" y="1119"/>
                  </a:lnTo>
                  <a:lnTo>
                    <a:pt x="69" y="1104"/>
                  </a:lnTo>
                  <a:lnTo>
                    <a:pt x="52" y="1104"/>
                  </a:lnTo>
                  <a:lnTo>
                    <a:pt x="34" y="1086"/>
                  </a:lnTo>
                  <a:lnTo>
                    <a:pt x="34" y="1104"/>
                  </a:lnTo>
                  <a:lnTo>
                    <a:pt x="17" y="1086"/>
                  </a:lnTo>
                  <a:lnTo>
                    <a:pt x="17" y="1071"/>
                  </a:lnTo>
                  <a:lnTo>
                    <a:pt x="34" y="1071"/>
                  </a:lnTo>
                  <a:lnTo>
                    <a:pt x="34" y="1056"/>
                  </a:lnTo>
                  <a:lnTo>
                    <a:pt x="34" y="1038"/>
                  </a:lnTo>
                  <a:lnTo>
                    <a:pt x="34" y="1056"/>
                  </a:lnTo>
                  <a:lnTo>
                    <a:pt x="17" y="1071"/>
                  </a:lnTo>
                  <a:lnTo>
                    <a:pt x="17" y="1023"/>
                  </a:lnTo>
                  <a:lnTo>
                    <a:pt x="34" y="1038"/>
                  </a:lnTo>
                  <a:lnTo>
                    <a:pt x="34" y="1008"/>
                  </a:lnTo>
                  <a:lnTo>
                    <a:pt x="17" y="1038"/>
                  </a:lnTo>
                  <a:lnTo>
                    <a:pt x="17" y="1008"/>
                  </a:lnTo>
                  <a:lnTo>
                    <a:pt x="0" y="990"/>
                  </a:lnTo>
                  <a:lnTo>
                    <a:pt x="0" y="975"/>
                  </a:lnTo>
                  <a:lnTo>
                    <a:pt x="17" y="927"/>
                  </a:lnTo>
                  <a:lnTo>
                    <a:pt x="17" y="912"/>
                  </a:lnTo>
                  <a:lnTo>
                    <a:pt x="34" y="942"/>
                  </a:lnTo>
                  <a:lnTo>
                    <a:pt x="52" y="879"/>
                  </a:lnTo>
                  <a:lnTo>
                    <a:pt x="17" y="879"/>
                  </a:lnTo>
                  <a:lnTo>
                    <a:pt x="0" y="879"/>
                  </a:lnTo>
                  <a:lnTo>
                    <a:pt x="34" y="864"/>
                  </a:lnTo>
                  <a:lnTo>
                    <a:pt x="17" y="846"/>
                  </a:lnTo>
                  <a:lnTo>
                    <a:pt x="34" y="846"/>
                  </a:lnTo>
                  <a:lnTo>
                    <a:pt x="34" y="799"/>
                  </a:lnTo>
                  <a:lnTo>
                    <a:pt x="52" y="783"/>
                  </a:lnTo>
                  <a:lnTo>
                    <a:pt x="69" y="783"/>
                  </a:lnTo>
                  <a:lnTo>
                    <a:pt x="52" y="816"/>
                  </a:lnTo>
                  <a:lnTo>
                    <a:pt x="52" y="831"/>
                  </a:lnTo>
                  <a:lnTo>
                    <a:pt x="86" y="720"/>
                  </a:lnTo>
                  <a:lnTo>
                    <a:pt x="86" y="703"/>
                  </a:lnTo>
                  <a:lnTo>
                    <a:pt x="69" y="703"/>
                  </a:lnTo>
                  <a:lnTo>
                    <a:pt x="52" y="687"/>
                  </a:lnTo>
                  <a:lnTo>
                    <a:pt x="52" y="639"/>
                  </a:lnTo>
                  <a:lnTo>
                    <a:pt x="69" y="624"/>
                  </a:lnTo>
                  <a:lnTo>
                    <a:pt x="52" y="576"/>
                  </a:lnTo>
                  <a:lnTo>
                    <a:pt x="69" y="559"/>
                  </a:lnTo>
                  <a:lnTo>
                    <a:pt x="121" y="415"/>
                  </a:lnTo>
                  <a:lnTo>
                    <a:pt x="103" y="367"/>
                  </a:lnTo>
                  <a:lnTo>
                    <a:pt x="121" y="336"/>
                  </a:lnTo>
                  <a:lnTo>
                    <a:pt x="121" y="303"/>
                  </a:lnTo>
                  <a:lnTo>
                    <a:pt x="138" y="240"/>
                  </a:lnTo>
                  <a:lnTo>
                    <a:pt x="138" y="144"/>
                  </a:lnTo>
                  <a:lnTo>
                    <a:pt x="155" y="96"/>
                  </a:lnTo>
                  <a:lnTo>
                    <a:pt x="138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1" name="Freeform 72">
              <a:extLst>
                <a:ext uri="{FF2B5EF4-FFF2-40B4-BE49-F238E27FC236}">
                  <a16:creationId xmlns:a16="http://schemas.microsoft.com/office/drawing/2014/main" id="{A848D61A-737F-4863-9B1C-F18B2E8DD2CE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3003550" y="4394201"/>
              <a:ext cx="246063" cy="330200"/>
            </a:xfrm>
            <a:custGeom>
              <a:avLst/>
              <a:gdLst>
                <a:gd name="T0" fmla="*/ 47472 w 311"/>
                <a:gd name="T1" fmla="*/ 83746 h 414"/>
                <a:gd name="T2" fmla="*/ 47472 w 311"/>
                <a:gd name="T3" fmla="*/ 83746 h 414"/>
                <a:gd name="T4" fmla="*/ 50637 w 311"/>
                <a:gd name="T5" fmla="*/ 70187 h 414"/>
                <a:gd name="T6" fmla="*/ 47472 w 311"/>
                <a:gd name="T7" fmla="*/ 60616 h 414"/>
                <a:gd name="T8" fmla="*/ 50637 w 311"/>
                <a:gd name="T9" fmla="*/ 60616 h 414"/>
                <a:gd name="T10" fmla="*/ 47472 w 311"/>
                <a:gd name="T11" fmla="*/ 58224 h 414"/>
                <a:gd name="T12" fmla="*/ 47472 w 311"/>
                <a:gd name="T13" fmla="*/ 54236 h 414"/>
                <a:gd name="T14" fmla="*/ 60922 w 311"/>
                <a:gd name="T15" fmla="*/ 54236 h 414"/>
                <a:gd name="T16" fmla="*/ 60922 w 311"/>
                <a:gd name="T17" fmla="*/ 48653 h 414"/>
                <a:gd name="T18" fmla="*/ 57758 w 311"/>
                <a:gd name="T19" fmla="*/ 41474 h 414"/>
                <a:gd name="T20" fmla="*/ 60922 w 311"/>
                <a:gd name="T21" fmla="*/ 31903 h 414"/>
                <a:gd name="T22" fmla="*/ 50637 w 311"/>
                <a:gd name="T23" fmla="*/ 31903 h 414"/>
                <a:gd name="T24" fmla="*/ 47472 w 311"/>
                <a:gd name="T25" fmla="*/ 28713 h 414"/>
                <a:gd name="T26" fmla="*/ 37186 w 311"/>
                <a:gd name="T27" fmla="*/ 28713 h 414"/>
                <a:gd name="T28" fmla="*/ 34022 w 311"/>
                <a:gd name="T29" fmla="*/ 25523 h 414"/>
                <a:gd name="T30" fmla="*/ 34022 w 311"/>
                <a:gd name="T31" fmla="*/ 22332 h 414"/>
                <a:gd name="T32" fmla="*/ 30857 w 311"/>
                <a:gd name="T33" fmla="*/ 15952 h 414"/>
                <a:gd name="T34" fmla="*/ 34022 w 311"/>
                <a:gd name="T35" fmla="*/ 9571 h 414"/>
                <a:gd name="T36" fmla="*/ 37186 w 311"/>
                <a:gd name="T37" fmla="*/ 6381 h 414"/>
                <a:gd name="T38" fmla="*/ 41142 w 311"/>
                <a:gd name="T39" fmla="*/ 3190 h 414"/>
                <a:gd name="T40" fmla="*/ 37186 w 311"/>
                <a:gd name="T41" fmla="*/ 0 h 414"/>
                <a:gd name="T42" fmla="*/ 30857 w 311"/>
                <a:gd name="T43" fmla="*/ 6381 h 414"/>
                <a:gd name="T44" fmla="*/ 20571 w 311"/>
                <a:gd name="T45" fmla="*/ 9571 h 414"/>
                <a:gd name="T46" fmla="*/ 16615 w 311"/>
                <a:gd name="T47" fmla="*/ 15952 h 414"/>
                <a:gd name="T48" fmla="*/ 10286 w 311"/>
                <a:gd name="T49" fmla="*/ 19142 h 414"/>
                <a:gd name="T50" fmla="*/ 10286 w 311"/>
                <a:gd name="T51" fmla="*/ 25523 h 414"/>
                <a:gd name="T52" fmla="*/ 6330 w 311"/>
                <a:gd name="T53" fmla="*/ 19142 h 414"/>
                <a:gd name="T54" fmla="*/ 10286 w 311"/>
                <a:gd name="T55" fmla="*/ 22332 h 414"/>
                <a:gd name="T56" fmla="*/ 6330 w 311"/>
                <a:gd name="T57" fmla="*/ 25523 h 414"/>
                <a:gd name="T58" fmla="*/ 6330 w 311"/>
                <a:gd name="T59" fmla="*/ 28713 h 414"/>
                <a:gd name="T60" fmla="*/ 6330 w 311"/>
                <a:gd name="T61" fmla="*/ 31903 h 414"/>
                <a:gd name="T62" fmla="*/ 6330 w 311"/>
                <a:gd name="T63" fmla="*/ 44665 h 414"/>
                <a:gd name="T64" fmla="*/ 10286 w 311"/>
                <a:gd name="T65" fmla="*/ 44665 h 414"/>
                <a:gd name="T66" fmla="*/ 6330 w 311"/>
                <a:gd name="T67" fmla="*/ 51045 h 414"/>
                <a:gd name="T68" fmla="*/ 3165 w 311"/>
                <a:gd name="T69" fmla="*/ 51045 h 414"/>
                <a:gd name="T70" fmla="*/ 3165 w 311"/>
                <a:gd name="T71" fmla="*/ 54236 h 414"/>
                <a:gd name="T72" fmla="*/ 0 w 311"/>
                <a:gd name="T73" fmla="*/ 54236 h 414"/>
                <a:gd name="T74" fmla="*/ 0 w 311"/>
                <a:gd name="T75" fmla="*/ 58224 h 414"/>
                <a:gd name="T76" fmla="*/ 10286 w 311"/>
                <a:gd name="T77" fmla="*/ 63807 h 414"/>
                <a:gd name="T78" fmla="*/ 16615 w 311"/>
                <a:gd name="T79" fmla="*/ 60616 h 414"/>
                <a:gd name="T80" fmla="*/ 20571 w 311"/>
                <a:gd name="T81" fmla="*/ 63807 h 414"/>
                <a:gd name="T82" fmla="*/ 26901 w 311"/>
                <a:gd name="T83" fmla="*/ 70187 h 414"/>
                <a:gd name="T84" fmla="*/ 30857 w 311"/>
                <a:gd name="T85" fmla="*/ 76568 h 414"/>
                <a:gd name="T86" fmla="*/ 44307 w 311"/>
                <a:gd name="T87" fmla="*/ 73378 h 414"/>
                <a:gd name="T88" fmla="*/ 47472 w 311"/>
                <a:gd name="T89" fmla="*/ 76568 h 414"/>
                <a:gd name="T90" fmla="*/ 47472 w 311"/>
                <a:gd name="T91" fmla="*/ 79758 h 414"/>
                <a:gd name="T92" fmla="*/ 44307 w 311"/>
                <a:gd name="T93" fmla="*/ 79758 h 414"/>
                <a:gd name="T94" fmla="*/ 47472 w 311"/>
                <a:gd name="T95" fmla="*/ 83746 h 4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1"/>
                <a:gd name="T145" fmla="*/ 0 h 414"/>
                <a:gd name="T146" fmla="*/ 311 w 311"/>
                <a:gd name="T147" fmla="*/ 414 h 41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1" h="414">
                  <a:moveTo>
                    <a:pt x="242" y="414"/>
                  </a:moveTo>
                  <a:lnTo>
                    <a:pt x="242" y="414"/>
                  </a:lnTo>
                  <a:lnTo>
                    <a:pt x="259" y="351"/>
                  </a:lnTo>
                  <a:lnTo>
                    <a:pt x="242" y="303"/>
                  </a:lnTo>
                  <a:lnTo>
                    <a:pt x="259" y="303"/>
                  </a:lnTo>
                  <a:lnTo>
                    <a:pt x="242" y="288"/>
                  </a:lnTo>
                  <a:lnTo>
                    <a:pt x="242" y="270"/>
                  </a:lnTo>
                  <a:lnTo>
                    <a:pt x="311" y="270"/>
                  </a:lnTo>
                  <a:lnTo>
                    <a:pt x="311" y="240"/>
                  </a:lnTo>
                  <a:lnTo>
                    <a:pt x="294" y="207"/>
                  </a:lnTo>
                  <a:lnTo>
                    <a:pt x="311" y="159"/>
                  </a:lnTo>
                  <a:lnTo>
                    <a:pt x="259" y="159"/>
                  </a:lnTo>
                  <a:lnTo>
                    <a:pt x="242" y="144"/>
                  </a:lnTo>
                  <a:lnTo>
                    <a:pt x="190" y="144"/>
                  </a:lnTo>
                  <a:lnTo>
                    <a:pt x="173" y="126"/>
                  </a:lnTo>
                  <a:lnTo>
                    <a:pt x="173" y="111"/>
                  </a:lnTo>
                  <a:lnTo>
                    <a:pt x="156" y="78"/>
                  </a:lnTo>
                  <a:lnTo>
                    <a:pt x="173" y="48"/>
                  </a:lnTo>
                  <a:lnTo>
                    <a:pt x="190" y="30"/>
                  </a:lnTo>
                  <a:lnTo>
                    <a:pt x="208" y="15"/>
                  </a:lnTo>
                  <a:lnTo>
                    <a:pt x="190" y="0"/>
                  </a:lnTo>
                  <a:lnTo>
                    <a:pt x="156" y="30"/>
                  </a:lnTo>
                  <a:lnTo>
                    <a:pt x="104" y="48"/>
                  </a:lnTo>
                  <a:lnTo>
                    <a:pt x="87" y="78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35" y="96"/>
                  </a:lnTo>
                  <a:lnTo>
                    <a:pt x="52" y="111"/>
                  </a:lnTo>
                  <a:lnTo>
                    <a:pt x="35" y="126"/>
                  </a:lnTo>
                  <a:lnTo>
                    <a:pt x="35" y="144"/>
                  </a:lnTo>
                  <a:lnTo>
                    <a:pt x="35" y="159"/>
                  </a:lnTo>
                  <a:lnTo>
                    <a:pt x="35" y="222"/>
                  </a:lnTo>
                  <a:lnTo>
                    <a:pt x="52" y="222"/>
                  </a:lnTo>
                  <a:lnTo>
                    <a:pt x="35" y="255"/>
                  </a:lnTo>
                  <a:lnTo>
                    <a:pt x="18" y="255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0" y="288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104" y="318"/>
                  </a:lnTo>
                  <a:lnTo>
                    <a:pt x="139" y="351"/>
                  </a:lnTo>
                  <a:lnTo>
                    <a:pt x="156" y="383"/>
                  </a:lnTo>
                  <a:lnTo>
                    <a:pt x="225" y="366"/>
                  </a:lnTo>
                  <a:lnTo>
                    <a:pt x="242" y="383"/>
                  </a:lnTo>
                  <a:lnTo>
                    <a:pt x="242" y="399"/>
                  </a:lnTo>
                  <a:lnTo>
                    <a:pt x="225" y="399"/>
                  </a:lnTo>
                  <a:lnTo>
                    <a:pt x="242" y="41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2" name="Freeform 73">
              <a:extLst>
                <a:ext uri="{FF2B5EF4-FFF2-40B4-BE49-F238E27FC236}">
                  <a16:creationId xmlns:a16="http://schemas.microsoft.com/office/drawing/2014/main" id="{EA38FDDE-F552-4392-BA95-7181986989FB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962275" y="4622801"/>
              <a:ext cx="122238" cy="127000"/>
            </a:xfrm>
            <a:custGeom>
              <a:avLst/>
              <a:gdLst>
                <a:gd name="T0" fmla="*/ 29776 w 156"/>
                <a:gd name="T1" fmla="*/ 6390 h 159"/>
                <a:gd name="T2" fmla="*/ 29776 w 156"/>
                <a:gd name="T3" fmla="*/ 6390 h 159"/>
                <a:gd name="T4" fmla="*/ 26642 w 156"/>
                <a:gd name="T5" fmla="*/ 3195 h 159"/>
                <a:gd name="T6" fmla="*/ 19589 w 156"/>
                <a:gd name="T7" fmla="*/ 6390 h 159"/>
                <a:gd name="T8" fmla="*/ 10186 w 156"/>
                <a:gd name="T9" fmla="*/ 0 h 159"/>
                <a:gd name="T10" fmla="*/ 3134 w 156"/>
                <a:gd name="T11" fmla="*/ 3195 h 159"/>
                <a:gd name="T12" fmla="*/ 3134 w 156"/>
                <a:gd name="T13" fmla="*/ 6390 h 159"/>
                <a:gd name="T14" fmla="*/ 0 w 156"/>
                <a:gd name="T15" fmla="*/ 9585 h 159"/>
                <a:gd name="T16" fmla="*/ 0 w 156"/>
                <a:gd name="T17" fmla="*/ 15975 h 159"/>
                <a:gd name="T18" fmla="*/ 3134 w 156"/>
                <a:gd name="T19" fmla="*/ 22365 h 159"/>
                <a:gd name="T20" fmla="*/ 3134 w 156"/>
                <a:gd name="T21" fmla="*/ 19170 h 159"/>
                <a:gd name="T22" fmla="*/ 6269 w 156"/>
                <a:gd name="T23" fmla="*/ 19170 h 159"/>
                <a:gd name="T24" fmla="*/ 3134 w 156"/>
                <a:gd name="T25" fmla="*/ 22365 h 159"/>
                <a:gd name="T26" fmla="*/ 0 w 156"/>
                <a:gd name="T27" fmla="*/ 28755 h 159"/>
                <a:gd name="T28" fmla="*/ 6269 w 156"/>
                <a:gd name="T29" fmla="*/ 31950 h 159"/>
                <a:gd name="T30" fmla="*/ 16455 w 156"/>
                <a:gd name="T31" fmla="*/ 22365 h 159"/>
                <a:gd name="T32" fmla="*/ 23507 w 156"/>
                <a:gd name="T33" fmla="*/ 19170 h 159"/>
                <a:gd name="T34" fmla="*/ 26642 w 156"/>
                <a:gd name="T35" fmla="*/ 15975 h 159"/>
                <a:gd name="T36" fmla="*/ 29776 w 156"/>
                <a:gd name="T37" fmla="*/ 9585 h 159"/>
                <a:gd name="T38" fmla="*/ 26642 w 156"/>
                <a:gd name="T39" fmla="*/ 6390 h 159"/>
                <a:gd name="T40" fmla="*/ 29776 w 156"/>
                <a:gd name="T41" fmla="*/ 6390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6"/>
                <a:gd name="T64" fmla="*/ 0 h 159"/>
                <a:gd name="T65" fmla="*/ 156 w 156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6" h="159">
                  <a:moveTo>
                    <a:pt x="156" y="30"/>
                  </a:moveTo>
                  <a:lnTo>
                    <a:pt x="156" y="30"/>
                  </a:lnTo>
                  <a:lnTo>
                    <a:pt x="139" y="15"/>
                  </a:lnTo>
                  <a:lnTo>
                    <a:pt x="104" y="30"/>
                  </a:lnTo>
                  <a:lnTo>
                    <a:pt x="52" y="0"/>
                  </a:lnTo>
                  <a:lnTo>
                    <a:pt x="18" y="15"/>
                  </a:lnTo>
                  <a:lnTo>
                    <a:pt x="18" y="30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18" y="111"/>
                  </a:lnTo>
                  <a:lnTo>
                    <a:pt x="18" y="95"/>
                  </a:lnTo>
                  <a:lnTo>
                    <a:pt x="35" y="95"/>
                  </a:lnTo>
                  <a:lnTo>
                    <a:pt x="18" y="111"/>
                  </a:lnTo>
                  <a:lnTo>
                    <a:pt x="0" y="143"/>
                  </a:lnTo>
                  <a:lnTo>
                    <a:pt x="35" y="159"/>
                  </a:lnTo>
                  <a:lnTo>
                    <a:pt x="87" y="111"/>
                  </a:lnTo>
                  <a:lnTo>
                    <a:pt x="121" y="95"/>
                  </a:lnTo>
                  <a:lnTo>
                    <a:pt x="139" y="78"/>
                  </a:lnTo>
                  <a:lnTo>
                    <a:pt x="156" y="48"/>
                  </a:lnTo>
                  <a:lnTo>
                    <a:pt x="139" y="30"/>
                  </a:lnTo>
                  <a:lnTo>
                    <a:pt x="156" y="3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3" name="Freeform 74">
              <a:extLst>
                <a:ext uri="{FF2B5EF4-FFF2-40B4-BE49-F238E27FC236}">
                  <a16:creationId xmlns:a16="http://schemas.microsoft.com/office/drawing/2014/main" id="{B7832627-9836-4597-9391-EBEFAF898274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946400" y="4648201"/>
              <a:ext cx="277813" cy="368300"/>
            </a:xfrm>
            <a:custGeom>
              <a:avLst/>
              <a:gdLst>
                <a:gd name="T0" fmla="*/ 65881 w 350"/>
                <a:gd name="T1" fmla="*/ 53859 h 465"/>
                <a:gd name="T2" fmla="*/ 65881 w 350"/>
                <a:gd name="T3" fmla="*/ 53859 h 465"/>
                <a:gd name="T4" fmla="*/ 58738 w 350"/>
                <a:gd name="T5" fmla="*/ 53859 h 465"/>
                <a:gd name="T6" fmla="*/ 58738 w 350"/>
                <a:gd name="T7" fmla="*/ 47523 h 465"/>
                <a:gd name="T8" fmla="*/ 52388 w 350"/>
                <a:gd name="T9" fmla="*/ 50691 h 465"/>
                <a:gd name="T10" fmla="*/ 44450 w 350"/>
                <a:gd name="T11" fmla="*/ 47523 h 465"/>
                <a:gd name="T12" fmla="*/ 41275 w 350"/>
                <a:gd name="T13" fmla="*/ 38018 h 465"/>
                <a:gd name="T14" fmla="*/ 48419 w 350"/>
                <a:gd name="T15" fmla="*/ 25345 h 465"/>
                <a:gd name="T16" fmla="*/ 62706 w 350"/>
                <a:gd name="T17" fmla="*/ 19009 h 465"/>
                <a:gd name="T18" fmla="*/ 58738 w 350"/>
                <a:gd name="T19" fmla="*/ 15841 h 465"/>
                <a:gd name="T20" fmla="*/ 62706 w 350"/>
                <a:gd name="T21" fmla="*/ 15841 h 465"/>
                <a:gd name="T22" fmla="*/ 62706 w 350"/>
                <a:gd name="T23" fmla="*/ 12673 h 465"/>
                <a:gd name="T24" fmla="*/ 58738 w 350"/>
                <a:gd name="T25" fmla="*/ 9505 h 465"/>
                <a:gd name="T26" fmla="*/ 44450 w 350"/>
                <a:gd name="T27" fmla="*/ 12673 h 465"/>
                <a:gd name="T28" fmla="*/ 41275 w 350"/>
                <a:gd name="T29" fmla="*/ 6336 h 465"/>
                <a:gd name="T30" fmla="*/ 34925 w 350"/>
                <a:gd name="T31" fmla="*/ 0 h 465"/>
                <a:gd name="T32" fmla="*/ 31750 w 350"/>
                <a:gd name="T33" fmla="*/ 0 h 465"/>
                <a:gd name="T34" fmla="*/ 34925 w 350"/>
                <a:gd name="T35" fmla="*/ 3168 h 465"/>
                <a:gd name="T36" fmla="*/ 31750 w 350"/>
                <a:gd name="T37" fmla="*/ 9505 h 465"/>
                <a:gd name="T38" fmla="*/ 27781 w 350"/>
                <a:gd name="T39" fmla="*/ 12673 h 465"/>
                <a:gd name="T40" fmla="*/ 20638 w 350"/>
                <a:gd name="T41" fmla="*/ 15841 h 465"/>
                <a:gd name="T42" fmla="*/ 10319 w 350"/>
                <a:gd name="T43" fmla="*/ 25345 h 465"/>
                <a:gd name="T44" fmla="*/ 3969 w 350"/>
                <a:gd name="T45" fmla="*/ 22177 h 465"/>
                <a:gd name="T46" fmla="*/ 7938 w 350"/>
                <a:gd name="T47" fmla="*/ 15841 h 465"/>
                <a:gd name="T48" fmla="*/ 0 w 350"/>
                <a:gd name="T49" fmla="*/ 22177 h 465"/>
                <a:gd name="T50" fmla="*/ 3969 w 350"/>
                <a:gd name="T51" fmla="*/ 28514 h 465"/>
                <a:gd name="T52" fmla="*/ 0 w 350"/>
                <a:gd name="T53" fmla="*/ 28514 h 465"/>
                <a:gd name="T54" fmla="*/ 7938 w 350"/>
                <a:gd name="T55" fmla="*/ 34850 h 465"/>
                <a:gd name="T56" fmla="*/ 14288 w 350"/>
                <a:gd name="T57" fmla="*/ 41186 h 465"/>
                <a:gd name="T58" fmla="*/ 31750 w 350"/>
                <a:gd name="T59" fmla="*/ 72868 h 465"/>
                <a:gd name="T60" fmla="*/ 58738 w 350"/>
                <a:gd name="T61" fmla="*/ 91877 h 465"/>
                <a:gd name="T62" fmla="*/ 65881 w 350"/>
                <a:gd name="T63" fmla="*/ 88709 h 465"/>
                <a:gd name="T64" fmla="*/ 69850 w 350"/>
                <a:gd name="T65" fmla="*/ 82372 h 465"/>
                <a:gd name="T66" fmla="*/ 65881 w 350"/>
                <a:gd name="T67" fmla="*/ 79204 h 465"/>
                <a:gd name="T68" fmla="*/ 69850 w 350"/>
                <a:gd name="T69" fmla="*/ 60195 h 465"/>
                <a:gd name="T70" fmla="*/ 65881 w 350"/>
                <a:gd name="T71" fmla="*/ 53859 h 4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465"/>
                <a:gd name="T110" fmla="*/ 350 w 350"/>
                <a:gd name="T111" fmla="*/ 465 h 4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465">
                  <a:moveTo>
                    <a:pt x="332" y="273"/>
                  </a:moveTo>
                  <a:lnTo>
                    <a:pt x="332" y="273"/>
                  </a:lnTo>
                  <a:lnTo>
                    <a:pt x="296" y="273"/>
                  </a:lnTo>
                  <a:lnTo>
                    <a:pt x="296" y="240"/>
                  </a:lnTo>
                  <a:lnTo>
                    <a:pt x="261" y="257"/>
                  </a:lnTo>
                  <a:lnTo>
                    <a:pt x="227" y="240"/>
                  </a:lnTo>
                  <a:lnTo>
                    <a:pt x="210" y="192"/>
                  </a:lnTo>
                  <a:lnTo>
                    <a:pt x="244" y="129"/>
                  </a:lnTo>
                  <a:lnTo>
                    <a:pt x="313" y="96"/>
                  </a:lnTo>
                  <a:lnTo>
                    <a:pt x="296" y="81"/>
                  </a:lnTo>
                  <a:lnTo>
                    <a:pt x="313" y="81"/>
                  </a:lnTo>
                  <a:lnTo>
                    <a:pt x="313" y="65"/>
                  </a:lnTo>
                  <a:lnTo>
                    <a:pt x="296" y="48"/>
                  </a:lnTo>
                  <a:lnTo>
                    <a:pt x="227" y="65"/>
                  </a:lnTo>
                  <a:lnTo>
                    <a:pt x="210" y="33"/>
                  </a:lnTo>
                  <a:lnTo>
                    <a:pt x="175" y="0"/>
                  </a:lnTo>
                  <a:lnTo>
                    <a:pt x="158" y="0"/>
                  </a:lnTo>
                  <a:lnTo>
                    <a:pt x="175" y="18"/>
                  </a:lnTo>
                  <a:lnTo>
                    <a:pt x="158" y="48"/>
                  </a:lnTo>
                  <a:lnTo>
                    <a:pt x="140" y="65"/>
                  </a:lnTo>
                  <a:lnTo>
                    <a:pt x="106" y="81"/>
                  </a:lnTo>
                  <a:lnTo>
                    <a:pt x="54" y="129"/>
                  </a:lnTo>
                  <a:lnTo>
                    <a:pt x="19" y="113"/>
                  </a:lnTo>
                  <a:lnTo>
                    <a:pt x="37" y="81"/>
                  </a:lnTo>
                  <a:lnTo>
                    <a:pt x="0" y="113"/>
                  </a:lnTo>
                  <a:lnTo>
                    <a:pt x="19" y="144"/>
                  </a:lnTo>
                  <a:lnTo>
                    <a:pt x="0" y="144"/>
                  </a:lnTo>
                  <a:lnTo>
                    <a:pt x="37" y="177"/>
                  </a:lnTo>
                  <a:lnTo>
                    <a:pt x="71" y="209"/>
                  </a:lnTo>
                  <a:lnTo>
                    <a:pt x="158" y="369"/>
                  </a:lnTo>
                  <a:lnTo>
                    <a:pt x="296" y="465"/>
                  </a:lnTo>
                  <a:lnTo>
                    <a:pt x="332" y="449"/>
                  </a:lnTo>
                  <a:lnTo>
                    <a:pt x="350" y="417"/>
                  </a:lnTo>
                  <a:lnTo>
                    <a:pt x="332" y="401"/>
                  </a:lnTo>
                  <a:lnTo>
                    <a:pt x="350" y="305"/>
                  </a:lnTo>
                  <a:lnTo>
                    <a:pt x="332" y="2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4" name="Freeform 75">
              <a:extLst>
                <a:ext uri="{FF2B5EF4-FFF2-40B4-BE49-F238E27FC236}">
                  <a16:creationId xmlns:a16="http://schemas.microsoft.com/office/drawing/2014/main" id="{73D262BA-C662-4C88-B1C3-B3DA6840ECFD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208338" y="4838701"/>
              <a:ext cx="249238" cy="279400"/>
            </a:xfrm>
            <a:custGeom>
              <a:avLst/>
              <a:gdLst>
                <a:gd name="T0" fmla="*/ 62907 w 313"/>
                <a:gd name="T1" fmla="*/ 53822 h 353"/>
                <a:gd name="T2" fmla="*/ 62907 w 313"/>
                <a:gd name="T3" fmla="*/ 53822 h 353"/>
                <a:gd name="T4" fmla="*/ 62907 w 313"/>
                <a:gd name="T5" fmla="*/ 44324 h 353"/>
                <a:gd name="T6" fmla="*/ 58925 w 313"/>
                <a:gd name="T7" fmla="*/ 37992 h 353"/>
                <a:gd name="T8" fmla="*/ 58925 w 313"/>
                <a:gd name="T9" fmla="*/ 34826 h 353"/>
                <a:gd name="T10" fmla="*/ 52555 w 313"/>
                <a:gd name="T11" fmla="*/ 34826 h 353"/>
                <a:gd name="T12" fmla="*/ 48574 w 313"/>
                <a:gd name="T13" fmla="*/ 28494 h 353"/>
                <a:gd name="T14" fmla="*/ 48574 w 313"/>
                <a:gd name="T15" fmla="*/ 25328 h 353"/>
                <a:gd name="T16" fmla="*/ 45388 w 313"/>
                <a:gd name="T17" fmla="*/ 18996 h 353"/>
                <a:gd name="T18" fmla="*/ 24685 w 313"/>
                <a:gd name="T19" fmla="*/ 12664 h 353"/>
                <a:gd name="T20" fmla="*/ 20703 w 313"/>
                <a:gd name="T21" fmla="*/ 9498 h 353"/>
                <a:gd name="T22" fmla="*/ 20703 w 313"/>
                <a:gd name="T23" fmla="*/ 0 h 353"/>
                <a:gd name="T24" fmla="*/ 14333 w 313"/>
                <a:gd name="T25" fmla="*/ 0 h 353"/>
                <a:gd name="T26" fmla="*/ 7167 w 313"/>
                <a:gd name="T27" fmla="*/ 6332 h 353"/>
                <a:gd name="T28" fmla="*/ 0 w 313"/>
                <a:gd name="T29" fmla="*/ 6332 h 353"/>
                <a:gd name="T30" fmla="*/ 3981 w 313"/>
                <a:gd name="T31" fmla="*/ 12664 h 353"/>
                <a:gd name="T32" fmla="*/ 0 w 313"/>
                <a:gd name="T33" fmla="*/ 31660 h 353"/>
                <a:gd name="T34" fmla="*/ 3981 w 313"/>
                <a:gd name="T35" fmla="*/ 34826 h 353"/>
                <a:gd name="T36" fmla="*/ 0 w 313"/>
                <a:gd name="T37" fmla="*/ 41158 h 353"/>
                <a:gd name="T38" fmla="*/ 3981 w 313"/>
                <a:gd name="T39" fmla="*/ 50656 h 353"/>
                <a:gd name="T40" fmla="*/ 3981 w 313"/>
                <a:gd name="T41" fmla="*/ 53822 h 353"/>
                <a:gd name="T42" fmla="*/ 7167 w 313"/>
                <a:gd name="T43" fmla="*/ 69652 h 353"/>
                <a:gd name="T44" fmla="*/ 10352 w 313"/>
                <a:gd name="T45" fmla="*/ 69652 h 353"/>
                <a:gd name="T46" fmla="*/ 17518 w 313"/>
                <a:gd name="T47" fmla="*/ 63320 h 353"/>
                <a:gd name="T48" fmla="*/ 28666 w 313"/>
                <a:gd name="T49" fmla="*/ 66486 h 353"/>
                <a:gd name="T50" fmla="*/ 31852 w 313"/>
                <a:gd name="T51" fmla="*/ 63320 h 353"/>
                <a:gd name="T52" fmla="*/ 38222 w 313"/>
                <a:gd name="T53" fmla="*/ 66486 h 353"/>
                <a:gd name="T54" fmla="*/ 42203 w 313"/>
                <a:gd name="T55" fmla="*/ 50656 h 353"/>
                <a:gd name="T56" fmla="*/ 55740 w 313"/>
                <a:gd name="T57" fmla="*/ 50656 h 353"/>
                <a:gd name="T58" fmla="*/ 62907 w 313"/>
                <a:gd name="T59" fmla="*/ 53822 h 35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3"/>
                <a:gd name="T91" fmla="*/ 0 h 353"/>
                <a:gd name="T92" fmla="*/ 313 w 313"/>
                <a:gd name="T93" fmla="*/ 353 h 35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3" h="353">
                  <a:moveTo>
                    <a:pt x="313" y="273"/>
                  </a:moveTo>
                  <a:lnTo>
                    <a:pt x="313" y="273"/>
                  </a:lnTo>
                  <a:lnTo>
                    <a:pt x="313" y="225"/>
                  </a:lnTo>
                  <a:lnTo>
                    <a:pt x="296" y="192"/>
                  </a:lnTo>
                  <a:lnTo>
                    <a:pt x="296" y="177"/>
                  </a:lnTo>
                  <a:lnTo>
                    <a:pt x="262" y="177"/>
                  </a:lnTo>
                  <a:lnTo>
                    <a:pt x="244" y="144"/>
                  </a:lnTo>
                  <a:lnTo>
                    <a:pt x="244" y="129"/>
                  </a:lnTo>
                  <a:lnTo>
                    <a:pt x="227" y="96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104" y="0"/>
                  </a:lnTo>
                  <a:lnTo>
                    <a:pt x="70" y="0"/>
                  </a:lnTo>
                  <a:lnTo>
                    <a:pt x="35" y="33"/>
                  </a:lnTo>
                  <a:lnTo>
                    <a:pt x="0" y="33"/>
                  </a:lnTo>
                  <a:lnTo>
                    <a:pt x="18" y="65"/>
                  </a:lnTo>
                  <a:lnTo>
                    <a:pt x="0" y="161"/>
                  </a:lnTo>
                  <a:lnTo>
                    <a:pt x="18" y="177"/>
                  </a:lnTo>
                  <a:lnTo>
                    <a:pt x="0" y="209"/>
                  </a:lnTo>
                  <a:lnTo>
                    <a:pt x="18" y="257"/>
                  </a:lnTo>
                  <a:lnTo>
                    <a:pt x="18" y="273"/>
                  </a:lnTo>
                  <a:lnTo>
                    <a:pt x="35" y="353"/>
                  </a:lnTo>
                  <a:lnTo>
                    <a:pt x="52" y="353"/>
                  </a:lnTo>
                  <a:lnTo>
                    <a:pt x="87" y="321"/>
                  </a:lnTo>
                  <a:lnTo>
                    <a:pt x="141" y="336"/>
                  </a:lnTo>
                  <a:lnTo>
                    <a:pt x="158" y="321"/>
                  </a:lnTo>
                  <a:lnTo>
                    <a:pt x="192" y="336"/>
                  </a:lnTo>
                  <a:lnTo>
                    <a:pt x="210" y="257"/>
                  </a:lnTo>
                  <a:lnTo>
                    <a:pt x="279" y="257"/>
                  </a:lnTo>
                  <a:lnTo>
                    <a:pt x="313" y="2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5" name="Freeform 76">
              <a:extLst>
                <a:ext uri="{FF2B5EF4-FFF2-40B4-BE49-F238E27FC236}">
                  <a16:creationId xmlns:a16="http://schemas.microsoft.com/office/drawing/2014/main" id="{5AEF1AF7-971C-46A6-B093-325E0C97682C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359150" y="5041901"/>
              <a:ext cx="180975" cy="176213"/>
            </a:xfrm>
            <a:custGeom>
              <a:avLst/>
              <a:gdLst>
                <a:gd name="T0" fmla="*/ 42441 w 226"/>
                <a:gd name="T1" fmla="*/ 31608 h 223"/>
                <a:gd name="T2" fmla="*/ 42441 w 226"/>
                <a:gd name="T3" fmla="*/ 31608 h 223"/>
                <a:gd name="T4" fmla="*/ 46445 w 226"/>
                <a:gd name="T5" fmla="*/ 24496 h 223"/>
                <a:gd name="T6" fmla="*/ 38437 w 226"/>
                <a:gd name="T7" fmla="*/ 22125 h 223"/>
                <a:gd name="T8" fmla="*/ 38437 w 226"/>
                <a:gd name="T9" fmla="*/ 15014 h 223"/>
                <a:gd name="T10" fmla="*/ 35234 w 226"/>
                <a:gd name="T11" fmla="*/ 15014 h 223"/>
                <a:gd name="T12" fmla="*/ 24824 w 226"/>
                <a:gd name="T13" fmla="*/ 12643 h 223"/>
                <a:gd name="T14" fmla="*/ 24824 w 226"/>
                <a:gd name="T15" fmla="*/ 3161 h 223"/>
                <a:gd name="T16" fmla="*/ 17617 w 226"/>
                <a:gd name="T17" fmla="*/ 0 h 223"/>
                <a:gd name="T18" fmla="*/ 4004 w 226"/>
                <a:gd name="T19" fmla="*/ 0 h 223"/>
                <a:gd name="T20" fmla="*/ 0 w 226"/>
                <a:gd name="T21" fmla="*/ 15014 h 223"/>
                <a:gd name="T22" fmla="*/ 7207 w 226"/>
                <a:gd name="T23" fmla="*/ 24496 h 223"/>
                <a:gd name="T24" fmla="*/ 17617 w 226"/>
                <a:gd name="T25" fmla="*/ 24496 h 223"/>
                <a:gd name="T26" fmla="*/ 24824 w 226"/>
                <a:gd name="T27" fmla="*/ 31608 h 223"/>
                <a:gd name="T28" fmla="*/ 24824 w 226"/>
                <a:gd name="T29" fmla="*/ 33978 h 223"/>
                <a:gd name="T30" fmla="*/ 21621 w 226"/>
                <a:gd name="T31" fmla="*/ 40300 h 223"/>
                <a:gd name="T32" fmla="*/ 32031 w 226"/>
                <a:gd name="T33" fmla="*/ 43461 h 223"/>
                <a:gd name="T34" fmla="*/ 35234 w 226"/>
                <a:gd name="T35" fmla="*/ 40300 h 223"/>
                <a:gd name="T36" fmla="*/ 42441 w 226"/>
                <a:gd name="T37" fmla="*/ 37929 h 223"/>
                <a:gd name="T38" fmla="*/ 42441 w 226"/>
                <a:gd name="T39" fmla="*/ 31608 h 2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"/>
                <a:gd name="T61" fmla="*/ 0 h 223"/>
                <a:gd name="T62" fmla="*/ 226 w 226"/>
                <a:gd name="T63" fmla="*/ 223 h 2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" h="223">
                  <a:moveTo>
                    <a:pt x="209" y="160"/>
                  </a:moveTo>
                  <a:lnTo>
                    <a:pt x="209" y="160"/>
                  </a:lnTo>
                  <a:lnTo>
                    <a:pt x="226" y="127"/>
                  </a:lnTo>
                  <a:lnTo>
                    <a:pt x="191" y="112"/>
                  </a:lnTo>
                  <a:lnTo>
                    <a:pt x="191" y="79"/>
                  </a:lnTo>
                  <a:lnTo>
                    <a:pt x="174" y="79"/>
                  </a:lnTo>
                  <a:lnTo>
                    <a:pt x="122" y="64"/>
                  </a:lnTo>
                  <a:lnTo>
                    <a:pt x="122" y="16"/>
                  </a:lnTo>
                  <a:lnTo>
                    <a:pt x="88" y="0"/>
                  </a:lnTo>
                  <a:lnTo>
                    <a:pt x="17" y="0"/>
                  </a:lnTo>
                  <a:lnTo>
                    <a:pt x="0" y="79"/>
                  </a:lnTo>
                  <a:lnTo>
                    <a:pt x="34" y="127"/>
                  </a:lnTo>
                  <a:lnTo>
                    <a:pt x="88" y="127"/>
                  </a:lnTo>
                  <a:lnTo>
                    <a:pt x="122" y="160"/>
                  </a:lnTo>
                  <a:lnTo>
                    <a:pt x="122" y="175"/>
                  </a:lnTo>
                  <a:lnTo>
                    <a:pt x="105" y="207"/>
                  </a:lnTo>
                  <a:lnTo>
                    <a:pt x="157" y="223"/>
                  </a:lnTo>
                  <a:lnTo>
                    <a:pt x="174" y="207"/>
                  </a:lnTo>
                  <a:lnTo>
                    <a:pt x="209" y="192"/>
                  </a:lnTo>
                  <a:lnTo>
                    <a:pt x="209" y="16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6" name="Freeform 77">
              <a:extLst>
                <a:ext uri="{FF2B5EF4-FFF2-40B4-BE49-F238E27FC236}">
                  <a16:creationId xmlns:a16="http://schemas.microsoft.com/office/drawing/2014/main" id="{152D3284-B81F-4020-8791-926CEB6517F3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125788" y="5092701"/>
              <a:ext cx="427038" cy="787400"/>
            </a:xfrm>
            <a:custGeom>
              <a:avLst/>
              <a:gdLst>
                <a:gd name="T0" fmla="*/ 79523 w 537"/>
                <a:gd name="T1" fmla="*/ 69850 h 992"/>
                <a:gd name="T2" fmla="*/ 100199 w 537"/>
                <a:gd name="T3" fmla="*/ 31750 h 992"/>
                <a:gd name="T4" fmla="*/ 103380 w 537"/>
                <a:gd name="T5" fmla="*/ 19050 h 992"/>
                <a:gd name="T6" fmla="*/ 100199 w 537"/>
                <a:gd name="T7" fmla="*/ 25400 h 992"/>
                <a:gd name="T8" fmla="*/ 89861 w 537"/>
                <a:gd name="T9" fmla="*/ 31750 h 992"/>
                <a:gd name="T10" fmla="*/ 82704 w 537"/>
                <a:gd name="T11" fmla="*/ 22225 h 992"/>
                <a:gd name="T12" fmla="*/ 76342 w 537"/>
                <a:gd name="T13" fmla="*/ 12700 h 992"/>
                <a:gd name="T14" fmla="*/ 58847 w 537"/>
                <a:gd name="T15" fmla="*/ 3175 h 992"/>
                <a:gd name="T16" fmla="*/ 48509 w 537"/>
                <a:gd name="T17" fmla="*/ 3175 h 992"/>
                <a:gd name="T18" fmla="*/ 31014 w 537"/>
                <a:gd name="T19" fmla="*/ 6350 h 992"/>
                <a:gd name="T20" fmla="*/ 24652 w 537"/>
                <a:gd name="T21" fmla="*/ 15875 h 992"/>
                <a:gd name="T22" fmla="*/ 20676 w 537"/>
                <a:gd name="T23" fmla="*/ 34925 h 992"/>
                <a:gd name="T24" fmla="*/ 17495 w 537"/>
                <a:gd name="T25" fmla="*/ 66675 h 992"/>
                <a:gd name="T26" fmla="*/ 14314 w 537"/>
                <a:gd name="T27" fmla="*/ 82550 h 992"/>
                <a:gd name="T28" fmla="*/ 10338 w 537"/>
                <a:gd name="T29" fmla="*/ 98425 h 992"/>
                <a:gd name="T30" fmla="*/ 7157 w 537"/>
                <a:gd name="T31" fmla="*/ 117475 h 992"/>
                <a:gd name="T32" fmla="*/ 7157 w 537"/>
                <a:gd name="T33" fmla="*/ 136525 h 992"/>
                <a:gd name="T34" fmla="*/ 10338 w 537"/>
                <a:gd name="T35" fmla="*/ 139700 h 992"/>
                <a:gd name="T36" fmla="*/ 10338 w 537"/>
                <a:gd name="T37" fmla="*/ 139700 h 992"/>
                <a:gd name="T38" fmla="*/ 3976 w 537"/>
                <a:gd name="T39" fmla="*/ 158750 h 992"/>
                <a:gd name="T40" fmla="*/ 0 w 537"/>
                <a:gd name="T41" fmla="*/ 174625 h 992"/>
                <a:gd name="T42" fmla="*/ 0 w 537"/>
                <a:gd name="T43" fmla="*/ 184150 h 992"/>
                <a:gd name="T44" fmla="*/ 3976 w 537"/>
                <a:gd name="T45" fmla="*/ 190500 h 992"/>
                <a:gd name="T46" fmla="*/ 17495 w 537"/>
                <a:gd name="T47" fmla="*/ 193675 h 992"/>
                <a:gd name="T48" fmla="*/ 24652 w 537"/>
                <a:gd name="T49" fmla="*/ 196850 h 992"/>
                <a:gd name="T50" fmla="*/ 24652 w 537"/>
                <a:gd name="T51" fmla="*/ 180975 h 992"/>
                <a:gd name="T52" fmla="*/ 31014 w 537"/>
                <a:gd name="T53" fmla="*/ 168275 h 992"/>
                <a:gd name="T54" fmla="*/ 42147 w 537"/>
                <a:gd name="T55" fmla="*/ 155575 h 992"/>
                <a:gd name="T56" fmla="*/ 31014 w 537"/>
                <a:gd name="T57" fmla="*/ 149225 h 992"/>
                <a:gd name="T58" fmla="*/ 34990 w 537"/>
                <a:gd name="T59" fmla="*/ 142875 h 992"/>
                <a:gd name="T60" fmla="*/ 42147 w 537"/>
                <a:gd name="T61" fmla="*/ 136525 h 992"/>
                <a:gd name="T62" fmla="*/ 45328 w 537"/>
                <a:gd name="T63" fmla="*/ 130175 h 992"/>
                <a:gd name="T64" fmla="*/ 45328 w 537"/>
                <a:gd name="T65" fmla="*/ 123825 h 992"/>
                <a:gd name="T66" fmla="*/ 52485 w 537"/>
                <a:gd name="T67" fmla="*/ 123825 h 992"/>
                <a:gd name="T68" fmla="*/ 48509 w 537"/>
                <a:gd name="T69" fmla="*/ 120650 h 992"/>
                <a:gd name="T70" fmla="*/ 45328 w 537"/>
                <a:gd name="T71" fmla="*/ 111125 h 992"/>
                <a:gd name="T72" fmla="*/ 58847 w 537"/>
                <a:gd name="T73" fmla="*/ 111125 h 992"/>
                <a:gd name="T74" fmla="*/ 58847 w 537"/>
                <a:gd name="T75" fmla="*/ 98425 h 992"/>
                <a:gd name="T76" fmla="*/ 69185 w 537"/>
                <a:gd name="T77" fmla="*/ 98425 h 992"/>
                <a:gd name="T78" fmla="*/ 89861 w 537"/>
                <a:gd name="T79" fmla="*/ 85725 h 992"/>
                <a:gd name="T80" fmla="*/ 86680 w 537"/>
                <a:gd name="T81" fmla="*/ 79375 h 992"/>
                <a:gd name="T82" fmla="*/ 79523 w 537"/>
                <a:gd name="T83" fmla="*/ 73025 h 9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7"/>
                <a:gd name="T127" fmla="*/ 0 h 992"/>
                <a:gd name="T128" fmla="*/ 537 w 537"/>
                <a:gd name="T129" fmla="*/ 992 h 9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7" h="992">
                  <a:moveTo>
                    <a:pt x="399" y="351"/>
                  </a:moveTo>
                  <a:lnTo>
                    <a:pt x="399" y="351"/>
                  </a:lnTo>
                  <a:lnTo>
                    <a:pt x="434" y="239"/>
                  </a:lnTo>
                  <a:lnTo>
                    <a:pt x="503" y="159"/>
                  </a:lnTo>
                  <a:lnTo>
                    <a:pt x="537" y="143"/>
                  </a:lnTo>
                  <a:lnTo>
                    <a:pt x="520" y="96"/>
                  </a:lnTo>
                  <a:lnTo>
                    <a:pt x="503" y="96"/>
                  </a:lnTo>
                  <a:lnTo>
                    <a:pt x="503" y="128"/>
                  </a:lnTo>
                  <a:lnTo>
                    <a:pt x="468" y="143"/>
                  </a:lnTo>
                  <a:lnTo>
                    <a:pt x="451" y="159"/>
                  </a:lnTo>
                  <a:lnTo>
                    <a:pt x="399" y="143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82" y="63"/>
                  </a:lnTo>
                  <a:lnTo>
                    <a:pt x="330" y="63"/>
                  </a:lnTo>
                  <a:lnTo>
                    <a:pt x="295" y="15"/>
                  </a:lnTo>
                  <a:lnTo>
                    <a:pt x="261" y="0"/>
                  </a:lnTo>
                  <a:lnTo>
                    <a:pt x="244" y="15"/>
                  </a:lnTo>
                  <a:lnTo>
                    <a:pt x="192" y="0"/>
                  </a:lnTo>
                  <a:lnTo>
                    <a:pt x="155" y="32"/>
                  </a:lnTo>
                  <a:lnTo>
                    <a:pt x="155" y="63"/>
                  </a:lnTo>
                  <a:lnTo>
                    <a:pt x="121" y="80"/>
                  </a:lnTo>
                  <a:lnTo>
                    <a:pt x="138" y="128"/>
                  </a:lnTo>
                  <a:lnTo>
                    <a:pt x="103" y="176"/>
                  </a:lnTo>
                  <a:lnTo>
                    <a:pt x="69" y="272"/>
                  </a:lnTo>
                  <a:lnTo>
                    <a:pt x="86" y="335"/>
                  </a:lnTo>
                  <a:lnTo>
                    <a:pt x="69" y="383"/>
                  </a:lnTo>
                  <a:lnTo>
                    <a:pt x="69" y="416"/>
                  </a:lnTo>
                  <a:lnTo>
                    <a:pt x="52" y="431"/>
                  </a:lnTo>
                  <a:lnTo>
                    <a:pt x="52" y="495"/>
                  </a:lnTo>
                  <a:lnTo>
                    <a:pt x="34" y="527"/>
                  </a:lnTo>
                  <a:lnTo>
                    <a:pt x="34" y="591"/>
                  </a:lnTo>
                  <a:lnTo>
                    <a:pt x="34" y="623"/>
                  </a:lnTo>
                  <a:lnTo>
                    <a:pt x="34" y="687"/>
                  </a:lnTo>
                  <a:lnTo>
                    <a:pt x="52" y="687"/>
                  </a:lnTo>
                  <a:lnTo>
                    <a:pt x="52" y="704"/>
                  </a:lnTo>
                  <a:lnTo>
                    <a:pt x="34" y="704"/>
                  </a:lnTo>
                  <a:lnTo>
                    <a:pt x="52" y="704"/>
                  </a:lnTo>
                  <a:lnTo>
                    <a:pt x="34" y="767"/>
                  </a:lnTo>
                  <a:lnTo>
                    <a:pt x="17" y="800"/>
                  </a:lnTo>
                  <a:lnTo>
                    <a:pt x="17" y="830"/>
                  </a:lnTo>
                  <a:lnTo>
                    <a:pt x="0" y="878"/>
                  </a:lnTo>
                  <a:lnTo>
                    <a:pt x="0" y="911"/>
                  </a:lnTo>
                  <a:lnTo>
                    <a:pt x="0" y="926"/>
                  </a:lnTo>
                  <a:lnTo>
                    <a:pt x="17" y="911"/>
                  </a:lnTo>
                  <a:lnTo>
                    <a:pt x="17" y="959"/>
                  </a:lnTo>
                  <a:lnTo>
                    <a:pt x="34" y="974"/>
                  </a:lnTo>
                  <a:lnTo>
                    <a:pt x="86" y="974"/>
                  </a:lnTo>
                  <a:lnTo>
                    <a:pt x="121" y="974"/>
                  </a:lnTo>
                  <a:lnTo>
                    <a:pt x="121" y="992"/>
                  </a:lnTo>
                  <a:lnTo>
                    <a:pt x="103" y="926"/>
                  </a:lnTo>
                  <a:lnTo>
                    <a:pt x="121" y="911"/>
                  </a:lnTo>
                  <a:lnTo>
                    <a:pt x="138" y="896"/>
                  </a:lnTo>
                  <a:lnTo>
                    <a:pt x="155" y="848"/>
                  </a:lnTo>
                  <a:lnTo>
                    <a:pt x="209" y="815"/>
                  </a:lnTo>
                  <a:lnTo>
                    <a:pt x="209" y="782"/>
                  </a:lnTo>
                  <a:lnTo>
                    <a:pt x="192" y="782"/>
                  </a:lnTo>
                  <a:lnTo>
                    <a:pt x="155" y="752"/>
                  </a:lnTo>
                  <a:lnTo>
                    <a:pt x="155" y="734"/>
                  </a:lnTo>
                  <a:lnTo>
                    <a:pt x="174" y="719"/>
                  </a:lnTo>
                  <a:lnTo>
                    <a:pt x="209" y="704"/>
                  </a:lnTo>
                  <a:lnTo>
                    <a:pt x="209" y="687"/>
                  </a:lnTo>
                  <a:lnTo>
                    <a:pt x="226" y="687"/>
                  </a:lnTo>
                  <a:lnTo>
                    <a:pt x="226" y="656"/>
                  </a:lnTo>
                  <a:lnTo>
                    <a:pt x="244" y="639"/>
                  </a:lnTo>
                  <a:lnTo>
                    <a:pt x="226" y="623"/>
                  </a:lnTo>
                  <a:lnTo>
                    <a:pt x="244" y="623"/>
                  </a:lnTo>
                  <a:lnTo>
                    <a:pt x="261" y="623"/>
                  </a:lnTo>
                  <a:lnTo>
                    <a:pt x="261" y="608"/>
                  </a:lnTo>
                  <a:lnTo>
                    <a:pt x="244" y="608"/>
                  </a:lnTo>
                  <a:lnTo>
                    <a:pt x="226" y="608"/>
                  </a:lnTo>
                  <a:lnTo>
                    <a:pt x="226" y="560"/>
                  </a:lnTo>
                  <a:lnTo>
                    <a:pt x="261" y="575"/>
                  </a:lnTo>
                  <a:lnTo>
                    <a:pt x="295" y="560"/>
                  </a:lnTo>
                  <a:lnTo>
                    <a:pt x="313" y="512"/>
                  </a:lnTo>
                  <a:lnTo>
                    <a:pt x="295" y="495"/>
                  </a:lnTo>
                  <a:lnTo>
                    <a:pt x="313" y="495"/>
                  </a:lnTo>
                  <a:lnTo>
                    <a:pt x="347" y="495"/>
                  </a:lnTo>
                  <a:lnTo>
                    <a:pt x="434" y="479"/>
                  </a:lnTo>
                  <a:lnTo>
                    <a:pt x="451" y="431"/>
                  </a:lnTo>
                  <a:lnTo>
                    <a:pt x="451" y="416"/>
                  </a:lnTo>
                  <a:lnTo>
                    <a:pt x="434" y="399"/>
                  </a:lnTo>
                  <a:lnTo>
                    <a:pt x="434" y="383"/>
                  </a:lnTo>
                  <a:lnTo>
                    <a:pt x="399" y="368"/>
                  </a:lnTo>
                  <a:lnTo>
                    <a:pt x="399" y="35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7" name="Freeform 78">
              <a:extLst>
                <a:ext uri="{FF2B5EF4-FFF2-40B4-BE49-F238E27FC236}">
                  <a16:creationId xmlns:a16="http://schemas.microsoft.com/office/drawing/2014/main" id="{9531A102-A7BC-42D5-B6B1-9F17537B2F88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441700" y="5283201"/>
              <a:ext cx="125413" cy="101600"/>
            </a:xfrm>
            <a:custGeom>
              <a:avLst/>
              <a:gdLst>
                <a:gd name="T0" fmla="*/ 27781 w 158"/>
                <a:gd name="T1" fmla="*/ 18902 h 129"/>
                <a:gd name="T2" fmla="*/ 27781 w 158"/>
                <a:gd name="T3" fmla="*/ 18902 h 129"/>
                <a:gd name="T4" fmla="*/ 31750 w 158"/>
                <a:gd name="T5" fmla="*/ 12602 h 129"/>
                <a:gd name="T6" fmla="*/ 27781 w 158"/>
                <a:gd name="T7" fmla="*/ 9451 h 129"/>
                <a:gd name="T8" fmla="*/ 17463 w 158"/>
                <a:gd name="T9" fmla="*/ 3150 h 129"/>
                <a:gd name="T10" fmla="*/ 14288 w 158"/>
                <a:gd name="T11" fmla="*/ 3150 h 129"/>
                <a:gd name="T12" fmla="*/ 10319 w 158"/>
                <a:gd name="T13" fmla="*/ 0 h 129"/>
                <a:gd name="T14" fmla="*/ 7144 w 158"/>
                <a:gd name="T15" fmla="*/ 0 h 129"/>
                <a:gd name="T16" fmla="*/ 0 w 158"/>
                <a:gd name="T17" fmla="*/ 22053 h 129"/>
                <a:gd name="T18" fmla="*/ 3969 w 158"/>
                <a:gd name="T19" fmla="*/ 22053 h 129"/>
                <a:gd name="T20" fmla="*/ 14288 w 158"/>
                <a:gd name="T21" fmla="*/ 25203 h 129"/>
                <a:gd name="T22" fmla="*/ 23813 w 158"/>
                <a:gd name="T23" fmla="*/ 25203 h 129"/>
                <a:gd name="T24" fmla="*/ 27781 w 158"/>
                <a:gd name="T25" fmla="*/ 18902 h 1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8"/>
                <a:gd name="T40" fmla="*/ 0 h 129"/>
                <a:gd name="T41" fmla="*/ 158 w 158"/>
                <a:gd name="T42" fmla="*/ 129 h 1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8" h="129">
                  <a:moveTo>
                    <a:pt x="140" y="96"/>
                  </a:moveTo>
                  <a:lnTo>
                    <a:pt x="140" y="96"/>
                  </a:lnTo>
                  <a:lnTo>
                    <a:pt x="158" y="64"/>
                  </a:lnTo>
                  <a:lnTo>
                    <a:pt x="140" y="48"/>
                  </a:lnTo>
                  <a:lnTo>
                    <a:pt x="88" y="16"/>
                  </a:lnTo>
                  <a:lnTo>
                    <a:pt x="71" y="16"/>
                  </a:lnTo>
                  <a:lnTo>
                    <a:pt x="54" y="0"/>
                  </a:lnTo>
                  <a:lnTo>
                    <a:pt x="35" y="0"/>
                  </a:lnTo>
                  <a:lnTo>
                    <a:pt x="0" y="112"/>
                  </a:lnTo>
                  <a:lnTo>
                    <a:pt x="17" y="112"/>
                  </a:lnTo>
                  <a:lnTo>
                    <a:pt x="71" y="129"/>
                  </a:lnTo>
                  <a:lnTo>
                    <a:pt x="123" y="129"/>
                  </a:lnTo>
                  <a:lnTo>
                    <a:pt x="140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8" name="Freeform 79">
              <a:extLst>
                <a:ext uri="{FF2B5EF4-FFF2-40B4-BE49-F238E27FC236}">
                  <a16:creationId xmlns:a16="http://schemas.microsoft.com/office/drawing/2014/main" id="{9CB62CAD-B440-4E33-8A99-626C0AEC3491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113088" y="4546601"/>
              <a:ext cx="850900" cy="812800"/>
            </a:xfrm>
            <a:custGeom>
              <a:avLst/>
              <a:gdLst>
                <a:gd name="T0" fmla="*/ 122917 w 1073"/>
                <a:gd name="T1" fmla="*/ 6362 h 1022"/>
                <a:gd name="T2" fmla="*/ 112607 w 1073"/>
                <a:gd name="T3" fmla="*/ 12725 h 1022"/>
                <a:gd name="T4" fmla="*/ 105470 w 1073"/>
                <a:gd name="T5" fmla="*/ 12725 h 1022"/>
                <a:gd name="T6" fmla="*/ 95161 w 1073"/>
                <a:gd name="T7" fmla="*/ 15906 h 1022"/>
                <a:gd name="T8" fmla="*/ 81680 w 1073"/>
                <a:gd name="T9" fmla="*/ 19087 h 1022"/>
                <a:gd name="T10" fmla="*/ 75336 w 1073"/>
                <a:gd name="T11" fmla="*/ 12725 h 1022"/>
                <a:gd name="T12" fmla="*/ 75336 w 1073"/>
                <a:gd name="T13" fmla="*/ 0 h 1022"/>
                <a:gd name="T14" fmla="*/ 68199 w 1073"/>
                <a:gd name="T15" fmla="*/ 3181 h 1022"/>
                <a:gd name="T16" fmla="*/ 47581 w 1073"/>
                <a:gd name="T17" fmla="*/ 3181 h 1022"/>
                <a:gd name="T18" fmla="*/ 50753 w 1073"/>
                <a:gd name="T19" fmla="*/ 12725 h 1022"/>
                <a:gd name="T20" fmla="*/ 44409 w 1073"/>
                <a:gd name="T21" fmla="*/ 22268 h 1022"/>
                <a:gd name="T22" fmla="*/ 37271 w 1073"/>
                <a:gd name="T23" fmla="*/ 19087 h 1022"/>
                <a:gd name="T24" fmla="*/ 19825 w 1073"/>
                <a:gd name="T25" fmla="*/ 15906 h 1022"/>
                <a:gd name="T26" fmla="*/ 23790 w 1073"/>
                <a:gd name="T27" fmla="*/ 22268 h 1022"/>
                <a:gd name="T28" fmla="*/ 23790 w 1073"/>
                <a:gd name="T29" fmla="*/ 31812 h 1022"/>
                <a:gd name="T30" fmla="*/ 6344 w 1073"/>
                <a:gd name="T31" fmla="*/ 50899 h 1022"/>
                <a:gd name="T32" fmla="*/ 3172 w 1073"/>
                <a:gd name="T33" fmla="*/ 73168 h 1022"/>
                <a:gd name="T34" fmla="*/ 16653 w 1073"/>
                <a:gd name="T35" fmla="*/ 73168 h 1022"/>
                <a:gd name="T36" fmla="*/ 23790 w 1073"/>
                <a:gd name="T37" fmla="*/ 79530 h 1022"/>
                <a:gd name="T38" fmla="*/ 37271 w 1073"/>
                <a:gd name="T39" fmla="*/ 73168 h 1022"/>
                <a:gd name="T40" fmla="*/ 44409 w 1073"/>
                <a:gd name="T41" fmla="*/ 82712 h 1022"/>
                <a:gd name="T42" fmla="*/ 68199 w 1073"/>
                <a:gd name="T43" fmla="*/ 92255 h 1022"/>
                <a:gd name="T44" fmla="*/ 71371 w 1073"/>
                <a:gd name="T45" fmla="*/ 101799 h 1022"/>
                <a:gd name="T46" fmla="*/ 81680 w 1073"/>
                <a:gd name="T47" fmla="*/ 108161 h 1022"/>
                <a:gd name="T48" fmla="*/ 84852 w 1073"/>
                <a:gd name="T49" fmla="*/ 117705 h 1022"/>
                <a:gd name="T50" fmla="*/ 84852 w 1073"/>
                <a:gd name="T51" fmla="*/ 136792 h 1022"/>
                <a:gd name="T52" fmla="*/ 99126 w 1073"/>
                <a:gd name="T53" fmla="*/ 139973 h 1022"/>
                <a:gd name="T54" fmla="*/ 105470 w 1073"/>
                <a:gd name="T55" fmla="*/ 149517 h 1022"/>
                <a:gd name="T56" fmla="*/ 105470 w 1073"/>
                <a:gd name="T57" fmla="*/ 155879 h 1022"/>
                <a:gd name="T58" fmla="*/ 102298 w 1073"/>
                <a:gd name="T59" fmla="*/ 168604 h 1022"/>
                <a:gd name="T60" fmla="*/ 91989 w 1073"/>
                <a:gd name="T61" fmla="*/ 184510 h 1022"/>
                <a:gd name="T62" fmla="*/ 99126 w 1073"/>
                <a:gd name="T63" fmla="*/ 187692 h 1022"/>
                <a:gd name="T64" fmla="*/ 112607 w 1073"/>
                <a:gd name="T65" fmla="*/ 197235 h 1022"/>
                <a:gd name="T66" fmla="*/ 115779 w 1073"/>
                <a:gd name="T67" fmla="*/ 197235 h 1022"/>
                <a:gd name="T68" fmla="*/ 130054 w 1073"/>
                <a:gd name="T69" fmla="*/ 178148 h 1022"/>
                <a:gd name="T70" fmla="*/ 137191 w 1073"/>
                <a:gd name="T71" fmla="*/ 159061 h 1022"/>
                <a:gd name="T72" fmla="*/ 147500 w 1073"/>
                <a:gd name="T73" fmla="*/ 149517 h 1022"/>
                <a:gd name="T74" fmla="*/ 171290 w 1073"/>
                <a:gd name="T75" fmla="*/ 143155 h 1022"/>
                <a:gd name="T76" fmla="*/ 178427 w 1073"/>
                <a:gd name="T77" fmla="*/ 136792 h 1022"/>
                <a:gd name="T78" fmla="*/ 184771 w 1073"/>
                <a:gd name="T79" fmla="*/ 124067 h 1022"/>
                <a:gd name="T80" fmla="*/ 188736 w 1073"/>
                <a:gd name="T81" fmla="*/ 114524 h 1022"/>
                <a:gd name="T82" fmla="*/ 205390 w 1073"/>
                <a:gd name="T83" fmla="*/ 73168 h 1022"/>
                <a:gd name="T84" fmla="*/ 208562 w 1073"/>
                <a:gd name="T85" fmla="*/ 50899 h 1022"/>
                <a:gd name="T86" fmla="*/ 181599 w 1073"/>
                <a:gd name="T87" fmla="*/ 38175 h 1022"/>
                <a:gd name="T88" fmla="*/ 164153 w 1073"/>
                <a:gd name="T89" fmla="*/ 38175 h 1022"/>
                <a:gd name="T90" fmla="*/ 157809 w 1073"/>
                <a:gd name="T91" fmla="*/ 34993 h 1022"/>
                <a:gd name="T92" fmla="*/ 153844 w 1073"/>
                <a:gd name="T93" fmla="*/ 31812 h 1022"/>
                <a:gd name="T94" fmla="*/ 137191 w 1073"/>
                <a:gd name="T95" fmla="*/ 31812 h 1022"/>
                <a:gd name="T96" fmla="*/ 133226 w 1073"/>
                <a:gd name="T97" fmla="*/ 25450 h 1022"/>
                <a:gd name="T98" fmla="*/ 126882 w 1073"/>
                <a:gd name="T99" fmla="*/ 31812 h 1022"/>
                <a:gd name="T100" fmla="*/ 119745 w 1073"/>
                <a:gd name="T101" fmla="*/ 31812 h 1022"/>
                <a:gd name="T102" fmla="*/ 130054 w 1073"/>
                <a:gd name="T103" fmla="*/ 19087 h 1022"/>
                <a:gd name="T104" fmla="*/ 126882 w 1073"/>
                <a:gd name="T105" fmla="*/ 15906 h 10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73"/>
                <a:gd name="T160" fmla="*/ 0 h 1022"/>
                <a:gd name="T161" fmla="*/ 1073 w 1073"/>
                <a:gd name="T162" fmla="*/ 1022 h 10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73" h="1022">
                  <a:moveTo>
                    <a:pt x="623" y="30"/>
                  </a:moveTo>
                  <a:lnTo>
                    <a:pt x="623" y="30"/>
                  </a:lnTo>
                  <a:lnTo>
                    <a:pt x="606" y="30"/>
                  </a:lnTo>
                  <a:lnTo>
                    <a:pt x="570" y="63"/>
                  </a:lnTo>
                  <a:lnTo>
                    <a:pt x="552" y="78"/>
                  </a:lnTo>
                  <a:lnTo>
                    <a:pt x="535" y="63"/>
                  </a:lnTo>
                  <a:lnTo>
                    <a:pt x="501" y="63"/>
                  </a:lnTo>
                  <a:lnTo>
                    <a:pt x="483" y="78"/>
                  </a:lnTo>
                  <a:lnTo>
                    <a:pt x="466" y="78"/>
                  </a:lnTo>
                  <a:lnTo>
                    <a:pt x="414" y="96"/>
                  </a:lnTo>
                  <a:lnTo>
                    <a:pt x="397" y="96"/>
                  </a:lnTo>
                  <a:lnTo>
                    <a:pt x="380" y="63"/>
                  </a:lnTo>
                  <a:lnTo>
                    <a:pt x="380" y="15"/>
                  </a:lnTo>
                  <a:lnTo>
                    <a:pt x="380" y="0"/>
                  </a:lnTo>
                  <a:lnTo>
                    <a:pt x="362" y="0"/>
                  </a:lnTo>
                  <a:lnTo>
                    <a:pt x="345" y="15"/>
                  </a:lnTo>
                  <a:lnTo>
                    <a:pt x="293" y="30"/>
                  </a:lnTo>
                  <a:lnTo>
                    <a:pt x="241" y="15"/>
                  </a:lnTo>
                  <a:lnTo>
                    <a:pt x="259" y="30"/>
                  </a:lnTo>
                  <a:lnTo>
                    <a:pt x="259" y="63"/>
                  </a:lnTo>
                  <a:lnTo>
                    <a:pt x="276" y="78"/>
                  </a:lnTo>
                  <a:lnTo>
                    <a:pt x="224" y="111"/>
                  </a:lnTo>
                  <a:lnTo>
                    <a:pt x="207" y="111"/>
                  </a:lnTo>
                  <a:lnTo>
                    <a:pt x="190" y="96"/>
                  </a:lnTo>
                  <a:lnTo>
                    <a:pt x="172" y="78"/>
                  </a:lnTo>
                  <a:lnTo>
                    <a:pt x="103" y="78"/>
                  </a:lnTo>
                  <a:lnTo>
                    <a:pt x="103" y="96"/>
                  </a:lnTo>
                  <a:lnTo>
                    <a:pt x="120" y="111"/>
                  </a:lnTo>
                  <a:lnTo>
                    <a:pt x="103" y="111"/>
                  </a:lnTo>
                  <a:lnTo>
                    <a:pt x="120" y="159"/>
                  </a:lnTo>
                  <a:lnTo>
                    <a:pt x="103" y="222"/>
                  </a:lnTo>
                  <a:lnTo>
                    <a:pt x="34" y="255"/>
                  </a:lnTo>
                  <a:lnTo>
                    <a:pt x="0" y="318"/>
                  </a:lnTo>
                  <a:lnTo>
                    <a:pt x="17" y="366"/>
                  </a:lnTo>
                  <a:lnTo>
                    <a:pt x="51" y="383"/>
                  </a:lnTo>
                  <a:lnTo>
                    <a:pt x="86" y="366"/>
                  </a:lnTo>
                  <a:lnTo>
                    <a:pt x="86" y="399"/>
                  </a:lnTo>
                  <a:lnTo>
                    <a:pt x="120" y="399"/>
                  </a:lnTo>
                  <a:lnTo>
                    <a:pt x="155" y="399"/>
                  </a:lnTo>
                  <a:lnTo>
                    <a:pt x="190" y="366"/>
                  </a:lnTo>
                  <a:lnTo>
                    <a:pt x="224" y="366"/>
                  </a:lnTo>
                  <a:lnTo>
                    <a:pt x="224" y="414"/>
                  </a:lnTo>
                  <a:lnTo>
                    <a:pt x="241" y="431"/>
                  </a:lnTo>
                  <a:lnTo>
                    <a:pt x="345" y="462"/>
                  </a:lnTo>
                  <a:lnTo>
                    <a:pt x="362" y="495"/>
                  </a:lnTo>
                  <a:lnTo>
                    <a:pt x="362" y="510"/>
                  </a:lnTo>
                  <a:lnTo>
                    <a:pt x="380" y="543"/>
                  </a:lnTo>
                  <a:lnTo>
                    <a:pt x="414" y="543"/>
                  </a:lnTo>
                  <a:lnTo>
                    <a:pt x="414" y="558"/>
                  </a:lnTo>
                  <a:lnTo>
                    <a:pt x="431" y="591"/>
                  </a:lnTo>
                  <a:lnTo>
                    <a:pt x="431" y="639"/>
                  </a:lnTo>
                  <a:lnTo>
                    <a:pt x="431" y="687"/>
                  </a:lnTo>
                  <a:lnTo>
                    <a:pt x="483" y="702"/>
                  </a:lnTo>
                  <a:lnTo>
                    <a:pt x="501" y="702"/>
                  </a:lnTo>
                  <a:lnTo>
                    <a:pt x="501" y="735"/>
                  </a:lnTo>
                  <a:lnTo>
                    <a:pt x="535" y="750"/>
                  </a:lnTo>
                  <a:lnTo>
                    <a:pt x="518" y="783"/>
                  </a:lnTo>
                  <a:lnTo>
                    <a:pt x="535" y="783"/>
                  </a:lnTo>
                  <a:lnTo>
                    <a:pt x="552" y="830"/>
                  </a:lnTo>
                  <a:lnTo>
                    <a:pt x="518" y="846"/>
                  </a:lnTo>
                  <a:lnTo>
                    <a:pt x="449" y="926"/>
                  </a:lnTo>
                  <a:lnTo>
                    <a:pt x="466" y="926"/>
                  </a:lnTo>
                  <a:lnTo>
                    <a:pt x="483" y="942"/>
                  </a:lnTo>
                  <a:lnTo>
                    <a:pt x="501" y="942"/>
                  </a:lnTo>
                  <a:lnTo>
                    <a:pt x="552" y="974"/>
                  </a:lnTo>
                  <a:lnTo>
                    <a:pt x="570" y="990"/>
                  </a:lnTo>
                  <a:lnTo>
                    <a:pt x="552" y="1022"/>
                  </a:lnTo>
                  <a:lnTo>
                    <a:pt x="587" y="990"/>
                  </a:lnTo>
                  <a:lnTo>
                    <a:pt x="623" y="959"/>
                  </a:lnTo>
                  <a:lnTo>
                    <a:pt x="658" y="894"/>
                  </a:lnTo>
                  <a:lnTo>
                    <a:pt x="693" y="863"/>
                  </a:lnTo>
                  <a:lnTo>
                    <a:pt x="693" y="798"/>
                  </a:lnTo>
                  <a:lnTo>
                    <a:pt x="710" y="767"/>
                  </a:lnTo>
                  <a:lnTo>
                    <a:pt x="744" y="750"/>
                  </a:lnTo>
                  <a:lnTo>
                    <a:pt x="796" y="719"/>
                  </a:lnTo>
                  <a:lnTo>
                    <a:pt x="865" y="719"/>
                  </a:lnTo>
                  <a:lnTo>
                    <a:pt x="865" y="702"/>
                  </a:lnTo>
                  <a:lnTo>
                    <a:pt x="900" y="687"/>
                  </a:lnTo>
                  <a:lnTo>
                    <a:pt x="900" y="671"/>
                  </a:lnTo>
                  <a:lnTo>
                    <a:pt x="934" y="623"/>
                  </a:lnTo>
                  <a:lnTo>
                    <a:pt x="934" y="591"/>
                  </a:lnTo>
                  <a:lnTo>
                    <a:pt x="952" y="575"/>
                  </a:lnTo>
                  <a:lnTo>
                    <a:pt x="952" y="462"/>
                  </a:lnTo>
                  <a:lnTo>
                    <a:pt x="1038" y="366"/>
                  </a:lnTo>
                  <a:lnTo>
                    <a:pt x="1073" y="318"/>
                  </a:lnTo>
                  <a:lnTo>
                    <a:pt x="1055" y="255"/>
                  </a:lnTo>
                  <a:lnTo>
                    <a:pt x="1004" y="255"/>
                  </a:lnTo>
                  <a:lnTo>
                    <a:pt x="917" y="191"/>
                  </a:lnTo>
                  <a:lnTo>
                    <a:pt x="883" y="207"/>
                  </a:lnTo>
                  <a:lnTo>
                    <a:pt x="831" y="191"/>
                  </a:lnTo>
                  <a:lnTo>
                    <a:pt x="796" y="191"/>
                  </a:lnTo>
                  <a:lnTo>
                    <a:pt x="796" y="174"/>
                  </a:lnTo>
                  <a:lnTo>
                    <a:pt x="796" y="159"/>
                  </a:lnTo>
                  <a:lnTo>
                    <a:pt x="779" y="159"/>
                  </a:lnTo>
                  <a:lnTo>
                    <a:pt x="710" y="144"/>
                  </a:lnTo>
                  <a:lnTo>
                    <a:pt x="693" y="159"/>
                  </a:lnTo>
                  <a:lnTo>
                    <a:pt x="693" y="126"/>
                  </a:lnTo>
                  <a:lnTo>
                    <a:pt x="675" y="126"/>
                  </a:lnTo>
                  <a:lnTo>
                    <a:pt x="641" y="126"/>
                  </a:lnTo>
                  <a:lnTo>
                    <a:pt x="641" y="159"/>
                  </a:lnTo>
                  <a:lnTo>
                    <a:pt x="623" y="144"/>
                  </a:lnTo>
                  <a:lnTo>
                    <a:pt x="606" y="159"/>
                  </a:lnTo>
                  <a:lnTo>
                    <a:pt x="623" y="126"/>
                  </a:lnTo>
                  <a:lnTo>
                    <a:pt x="658" y="96"/>
                  </a:lnTo>
                  <a:lnTo>
                    <a:pt x="658" y="78"/>
                  </a:lnTo>
                  <a:lnTo>
                    <a:pt x="641" y="78"/>
                  </a:lnTo>
                  <a:lnTo>
                    <a:pt x="623" y="3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19" name="Freeform 80">
              <a:extLst>
                <a:ext uri="{FF2B5EF4-FFF2-40B4-BE49-F238E27FC236}">
                  <a16:creationId xmlns:a16="http://schemas.microsoft.com/office/drawing/2014/main" id="{43E2784E-9420-45D5-B4A5-5CFD1107AC7F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540125" y="4529138"/>
              <a:ext cx="53975" cy="76200"/>
            </a:xfrm>
            <a:custGeom>
              <a:avLst/>
              <a:gdLst>
                <a:gd name="T0" fmla="*/ 0 w 69"/>
                <a:gd name="T1" fmla="*/ 16669 h 96"/>
                <a:gd name="T2" fmla="*/ 0 w 69"/>
                <a:gd name="T3" fmla="*/ 16669 h 96"/>
                <a:gd name="T4" fmla="*/ 3129 w 69"/>
                <a:gd name="T5" fmla="*/ 19050 h 96"/>
                <a:gd name="T6" fmla="*/ 6258 w 69"/>
                <a:gd name="T7" fmla="*/ 16669 h 96"/>
                <a:gd name="T8" fmla="*/ 13298 w 69"/>
                <a:gd name="T9" fmla="*/ 9525 h 96"/>
                <a:gd name="T10" fmla="*/ 0 w 69"/>
                <a:gd name="T11" fmla="*/ 0 h 96"/>
                <a:gd name="T12" fmla="*/ 0 w 69"/>
                <a:gd name="T13" fmla="*/ 3969 h 96"/>
                <a:gd name="T14" fmla="*/ 0 w 69"/>
                <a:gd name="T15" fmla="*/ 9525 h 96"/>
                <a:gd name="T16" fmla="*/ 0 w 69"/>
                <a:gd name="T17" fmla="*/ 16669 h 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96"/>
                <a:gd name="T29" fmla="*/ 69 w 69"/>
                <a:gd name="T30" fmla="*/ 96 h 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96">
                  <a:moveTo>
                    <a:pt x="0" y="81"/>
                  </a:moveTo>
                  <a:lnTo>
                    <a:pt x="0" y="81"/>
                  </a:lnTo>
                  <a:lnTo>
                    <a:pt x="17" y="96"/>
                  </a:lnTo>
                  <a:lnTo>
                    <a:pt x="35" y="81"/>
                  </a:lnTo>
                  <a:lnTo>
                    <a:pt x="69" y="48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0" name="Freeform 81">
              <a:extLst>
                <a:ext uri="{FF2B5EF4-FFF2-40B4-BE49-F238E27FC236}">
                  <a16:creationId xmlns:a16="http://schemas.microsoft.com/office/drawing/2014/main" id="{C417F058-D0B3-429E-93A3-72C42FA060E1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457575" y="4529138"/>
              <a:ext cx="82550" cy="76200"/>
            </a:xfrm>
            <a:custGeom>
              <a:avLst/>
              <a:gdLst>
                <a:gd name="T0" fmla="*/ 20638 w 104"/>
                <a:gd name="T1" fmla="*/ 16669 h 96"/>
                <a:gd name="T2" fmla="*/ 20638 w 104"/>
                <a:gd name="T3" fmla="*/ 16669 h 96"/>
                <a:gd name="T4" fmla="*/ 20638 w 104"/>
                <a:gd name="T5" fmla="*/ 9525 h 96"/>
                <a:gd name="T6" fmla="*/ 20638 w 104"/>
                <a:gd name="T7" fmla="*/ 3969 h 96"/>
                <a:gd name="T8" fmla="*/ 20638 w 104"/>
                <a:gd name="T9" fmla="*/ 0 h 96"/>
                <a:gd name="T10" fmla="*/ 7144 w 104"/>
                <a:gd name="T11" fmla="*/ 0 h 96"/>
                <a:gd name="T12" fmla="*/ 0 w 104"/>
                <a:gd name="T13" fmla="*/ 7144 h 96"/>
                <a:gd name="T14" fmla="*/ 7144 w 104"/>
                <a:gd name="T15" fmla="*/ 19050 h 96"/>
                <a:gd name="T16" fmla="*/ 10319 w 104"/>
                <a:gd name="T17" fmla="*/ 19050 h 96"/>
                <a:gd name="T18" fmla="*/ 14288 w 104"/>
                <a:gd name="T19" fmla="*/ 16669 h 96"/>
                <a:gd name="T20" fmla="*/ 20638 w 104"/>
                <a:gd name="T21" fmla="*/ 166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96"/>
                <a:gd name="T35" fmla="*/ 104 w 104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96">
                  <a:moveTo>
                    <a:pt x="104" y="81"/>
                  </a:moveTo>
                  <a:lnTo>
                    <a:pt x="104" y="81"/>
                  </a:lnTo>
                  <a:lnTo>
                    <a:pt x="104" y="48"/>
                  </a:lnTo>
                  <a:lnTo>
                    <a:pt x="104" y="18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0" y="33"/>
                  </a:lnTo>
                  <a:lnTo>
                    <a:pt x="35" y="96"/>
                  </a:lnTo>
                  <a:lnTo>
                    <a:pt x="52" y="96"/>
                  </a:lnTo>
                  <a:lnTo>
                    <a:pt x="69" y="81"/>
                  </a:lnTo>
                  <a:lnTo>
                    <a:pt x="104" y="8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1" name="Freeform 82">
              <a:extLst>
                <a:ext uri="{FF2B5EF4-FFF2-40B4-BE49-F238E27FC236}">
                  <a16:creationId xmlns:a16="http://schemas.microsoft.com/office/drawing/2014/main" id="{0F8267C0-DD8A-46C3-AC2E-3E32BAD04776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387725" y="4483101"/>
              <a:ext cx="95250" cy="139700"/>
            </a:xfrm>
            <a:custGeom>
              <a:avLst/>
              <a:gdLst>
                <a:gd name="T0" fmla="*/ 6298 w 121"/>
                <a:gd name="T1" fmla="*/ 0 h 177"/>
                <a:gd name="T2" fmla="*/ 6298 w 121"/>
                <a:gd name="T3" fmla="*/ 0 h 177"/>
                <a:gd name="T4" fmla="*/ 13382 w 121"/>
                <a:gd name="T5" fmla="*/ 2368 h 177"/>
                <a:gd name="T6" fmla="*/ 13382 w 121"/>
                <a:gd name="T7" fmla="*/ 6314 h 177"/>
                <a:gd name="T8" fmla="*/ 16531 w 121"/>
                <a:gd name="T9" fmla="*/ 6314 h 177"/>
                <a:gd name="T10" fmla="*/ 23616 w 121"/>
                <a:gd name="T11" fmla="*/ 11839 h 177"/>
                <a:gd name="T12" fmla="*/ 16531 w 121"/>
                <a:gd name="T13" fmla="*/ 18942 h 177"/>
                <a:gd name="T14" fmla="*/ 23616 w 121"/>
                <a:gd name="T15" fmla="*/ 30781 h 177"/>
                <a:gd name="T16" fmla="*/ 13382 w 121"/>
                <a:gd name="T17" fmla="*/ 34728 h 177"/>
                <a:gd name="T18" fmla="*/ 10233 w 121"/>
                <a:gd name="T19" fmla="*/ 34728 h 177"/>
                <a:gd name="T20" fmla="*/ 6298 w 121"/>
                <a:gd name="T21" fmla="*/ 28414 h 177"/>
                <a:gd name="T22" fmla="*/ 6298 w 121"/>
                <a:gd name="T23" fmla="*/ 18942 h 177"/>
                <a:gd name="T24" fmla="*/ 6298 w 121"/>
                <a:gd name="T25" fmla="*/ 15785 h 177"/>
                <a:gd name="T26" fmla="*/ 3149 w 121"/>
                <a:gd name="T27" fmla="*/ 15785 h 177"/>
                <a:gd name="T28" fmla="*/ 0 w 121"/>
                <a:gd name="T29" fmla="*/ 11839 h 177"/>
                <a:gd name="T30" fmla="*/ 0 w 121"/>
                <a:gd name="T31" fmla="*/ 6314 h 177"/>
                <a:gd name="T32" fmla="*/ 3149 w 121"/>
                <a:gd name="T33" fmla="*/ 6314 h 177"/>
                <a:gd name="T34" fmla="*/ 3149 w 121"/>
                <a:gd name="T35" fmla="*/ 2368 h 177"/>
                <a:gd name="T36" fmla="*/ 6298 w 121"/>
                <a:gd name="T37" fmla="*/ 0 h 1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77"/>
                <a:gd name="T59" fmla="*/ 121 w 121"/>
                <a:gd name="T60" fmla="*/ 177 h 1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77">
                  <a:moveTo>
                    <a:pt x="35" y="0"/>
                  </a:moveTo>
                  <a:lnTo>
                    <a:pt x="35" y="0"/>
                  </a:lnTo>
                  <a:lnTo>
                    <a:pt x="69" y="15"/>
                  </a:lnTo>
                  <a:lnTo>
                    <a:pt x="69" y="33"/>
                  </a:lnTo>
                  <a:lnTo>
                    <a:pt x="86" y="33"/>
                  </a:lnTo>
                  <a:lnTo>
                    <a:pt x="121" y="63"/>
                  </a:lnTo>
                  <a:lnTo>
                    <a:pt x="86" y="96"/>
                  </a:lnTo>
                  <a:lnTo>
                    <a:pt x="121" y="159"/>
                  </a:lnTo>
                  <a:lnTo>
                    <a:pt x="69" y="177"/>
                  </a:lnTo>
                  <a:lnTo>
                    <a:pt x="52" y="177"/>
                  </a:lnTo>
                  <a:lnTo>
                    <a:pt x="35" y="144"/>
                  </a:lnTo>
                  <a:lnTo>
                    <a:pt x="35" y="96"/>
                  </a:lnTo>
                  <a:lnTo>
                    <a:pt x="35" y="81"/>
                  </a:lnTo>
                  <a:lnTo>
                    <a:pt x="17" y="81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15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2" name="Freeform 83">
              <a:extLst>
                <a:ext uri="{FF2B5EF4-FFF2-40B4-BE49-F238E27FC236}">
                  <a16:creationId xmlns:a16="http://schemas.microsoft.com/office/drawing/2014/main" id="{031A0DC3-213F-4736-95F7-F47A788E1E1D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125788" y="4406901"/>
              <a:ext cx="290513" cy="228600"/>
            </a:xfrm>
            <a:custGeom>
              <a:avLst/>
              <a:gdLst>
                <a:gd name="T0" fmla="*/ 73225 w 365"/>
                <a:gd name="T1" fmla="*/ 19050 h 288"/>
                <a:gd name="T2" fmla="*/ 73225 w 365"/>
                <a:gd name="T3" fmla="*/ 19050 h 288"/>
                <a:gd name="T4" fmla="*/ 69246 w 365"/>
                <a:gd name="T5" fmla="*/ 21431 h 288"/>
                <a:gd name="T6" fmla="*/ 69246 w 365"/>
                <a:gd name="T7" fmla="*/ 26194 h 288"/>
                <a:gd name="T8" fmla="*/ 66062 w 365"/>
                <a:gd name="T9" fmla="*/ 26194 h 288"/>
                <a:gd name="T10" fmla="*/ 66062 w 365"/>
                <a:gd name="T11" fmla="*/ 30956 h 288"/>
                <a:gd name="T12" fmla="*/ 69246 w 365"/>
                <a:gd name="T13" fmla="*/ 34925 h 288"/>
                <a:gd name="T14" fmla="*/ 66062 w 365"/>
                <a:gd name="T15" fmla="*/ 38100 h 288"/>
                <a:gd name="T16" fmla="*/ 55715 w 365"/>
                <a:gd name="T17" fmla="*/ 40481 h 288"/>
                <a:gd name="T18" fmla="*/ 44572 w 365"/>
                <a:gd name="T19" fmla="*/ 38100 h 288"/>
                <a:gd name="T20" fmla="*/ 48551 w 365"/>
                <a:gd name="T21" fmla="*/ 40481 h 288"/>
                <a:gd name="T22" fmla="*/ 48551 w 365"/>
                <a:gd name="T23" fmla="*/ 47625 h 288"/>
                <a:gd name="T24" fmla="*/ 52531 w 365"/>
                <a:gd name="T25" fmla="*/ 50006 h 288"/>
                <a:gd name="T26" fmla="*/ 41388 w 365"/>
                <a:gd name="T27" fmla="*/ 57150 h 288"/>
                <a:gd name="T28" fmla="*/ 38204 w 365"/>
                <a:gd name="T29" fmla="*/ 57150 h 288"/>
                <a:gd name="T30" fmla="*/ 35021 w 365"/>
                <a:gd name="T31" fmla="*/ 54769 h 288"/>
                <a:gd name="T32" fmla="*/ 31041 w 365"/>
                <a:gd name="T33" fmla="*/ 50006 h 288"/>
                <a:gd name="T34" fmla="*/ 31041 w 365"/>
                <a:gd name="T35" fmla="*/ 44450 h 288"/>
                <a:gd name="T36" fmla="*/ 27857 w 365"/>
                <a:gd name="T37" fmla="*/ 38100 h 288"/>
                <a:gd name="T38" fmla="*/ 31041 w 365"/>
                <a:gd name="T39" fmla="*/ 28575 h 288"/>
                <a:gd name="T40" fmla="*/ 20694 w 365"/>
                <a:gd name="T41" fmla="*/ 28575 h 288"/>
                <a:gd name="T42" fmla="*/ 17510 w 365"/>
                <a:gd name="T43" fmla="*/ 26194 h 288"/>
                <a:gd name="T44" fmla="*/ 7163 w 365"/>
                <a:gd name="T45" fmla="*/ 26194 h 288"/>
                <a:gd name="T46" fmla="*/ 3980 w 365"/>
                <a:gd name="T47" fmla="*/ 21431 h 288"/>
                <a:gd name="T48" fmla="*/ 3980 w 365"/>
                <a:gd name="T49" fmla="*/ 19050 h 288"/>
                <a:gd name="T50" fmla="*/ 0 w 365"/>
                <a:gd name="T51" fmla="*/ 11906 h 288"/>
                <a:gd name="T52" fmla="*/ 3980 w 365"/>
                <a:gd name="T53" fmla="*/ 7144 h 288"/>
                <a:gd name="T54" fmla="*/ 7163 w 365"/>
                <a:gd name="T55" fmla="*/ 2381 h 288"/>
                <a:gd name="T56" fmla="*/ 10347 w 365"/>
                <a:gd name="T57" fmla="*/ 7144 h 288"/>
                <a:gd name="T58" fmla="*/ 7163 w 365"/>
                <a:gd name="T59" fmla="*/ 9525 h 288"/>
                <a:gd name="T60" fmla="*/ 7163 w 365"/>
                <a:gd name="T61" fmla="*/ 15875 h 288"/>
                <a:gd name="T62" fmla="*/ 10347 w 365"/>
                <a:gd name="T63" fmla="*/ 11906 h 288"/>
                <a:gd name="T64" fmla="*/ 10347 w 365"/>
                <a:gd name="T65" fmla="*/ 7144 h 288"/>
                <a:gd name="T66" fmla="*/ 17510 w 365"/>
                <a:gd name="T67" fmla="*/ 2381 h 288"/>
                <a:gd name="T68" fmla="*/ 17510 w 365"/>
                <a:gd name="T69" fmla="*/ 0 h 288"/>
                <a:gd name="T70" fmla="*/ 17510 w 365"/>
                <a:gd name="T71" fmla="*/ 2381 h 288"/>
                <a:gd name="T72" fmla="*/ 27857 w 365"/>
                <a:gd name="T73" fmla="*/ 2381 h 288"/>
                <a:gd name="T74" fmla="*/ 27857 w 365"/>
                <a:gd name="T75" fmla="*/ 7144 h 288"/>
                <a:gd name="T76" fmla="*/ 38204 w 365"/>
                <a:gd name="T77" fmla="*/ 7144 h 288"/>
                <a:gd name="T78" fmla="*/ 44572 w 365"/>
                <a:gd name="T79" fmla="*/ 9525 h 288"/>
                <a:gd name="T80" fmla="*/ 52531 w 365"/>
                <a:gd name="T81" fmla="*/ 7144 h 288"/>
                <a:gd name="T82" fmla="*/ 58899 w 365"/>
                <a:gd name="T83" fmla="*/ 7144 h 288"/>
                <a:gd name="T84" fmla="*/ 55715 w 365"/>
                <a:gd name="T85" fmla="*/ 7144 h 288"/>
                <a:gd name="T86" fmla="*/ 58899 w 365"/>
                <a:gd name="T87" fmla="*/ 9525 h 288"/>
                <a:gd name="T88" fmla="*/ 66062 w 365"/>
                <a:gd name="T89" fmla="*/ 11906 h 288"/>
                <a:gd name="T90" fmla="*/ 66062 w 365"/>
                <a:gd name="T91" fmla="*/ 19050 h 288"/>
                <a:gd name="T92" fmla="*/ 69246 w 365"/>
                <a:gd name="T93" fmla="*/ 15875 h 288"/>
                <a:gd name="T94" fmla="*/ 73225 w 365"/>
                <a:gd name="T95" fmla="*/ 19050 h 2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5"/>
                <a:gd name="T145" fmla="*/ 0 h 288"/>
                <a:gd name="T146" fmla="*/ 365 w 365"/>
                <a:gd name="T147" fmla="*/ 288 h 2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5" h="288">
                  <a:moveTo>
                    <a:pt x="365" y="96"/>
                  </a:moveTo>
                  <a:lnTo>
                    <a:pt x="365" y="96"/>
                  </a:lnTo>
                  <a:lnTo>
                    <a:pt x="347" y="111"/>
                  </a:lnTo>
                  <a:lnTo>
                    <a:pt x="347" y="129"/>
                  </a:lnTo>
                  <a:lnTo>
                    <a:pt x="330" y="129"/>
                  </a:lnTo>
                  <a:lnTo>
                    <a:pt x="330" y="159"/>
                  </a:lnTo>
                  <a:lnTo>
                    <a:pt x="347" y="177"/>
                  </a:lnTo>
                  <a:lnTo>
                    <a:pt x="330" y="192"/>
                  </a:lnTo>
                  <a:lnTo>
                    <a:pt x="278" y="207"/>
                  </a:lnTo>
                  <a:lnTo>
                    <a:pt x="224" y="192"/>
                  </a:lnTo>
                  <a:lnTo>
                    <a:pt x="242" y="207"/>
                  </a:lnTo>
                  <a:lnTo>
                    <a:pt x="242" y="240"/>
                  </a:lnTo>
                  <a:lnTo>
                    <a:pt x="261" y="255"/>
                  </a:lnTo>
                  <a:lnTo>
                    <a:pt x="207" y="288"/>
                  </a:lnTo>
                  <a:lnTo>
                    <a:pt x="190" y="288"/>
                  </a:lnTo>
                  <a:lnTo>
                    <a:pt x="173" y="273"/>
                  </a:lnTo>
                  <a:lnTo>
                    <a:pt x="155" y="255"/>
                  </a:lnTo>
                  <a:lnTo>
                    <a:pt x="155" y="225"/>
                  </a:lnTo>
                  <a:lnTo>
                    <a:pt x="138" y="192"/>
                  </a:lnTo>
                  <a:lnTo>
                    <a:pt x="155" y="144"/>
                  </a:lnTo>
                  <a:lnTo>
                    <a:pt x="103" y="144"/>
                  </a:lnTo>
                  <a:lnTo>
                    <a:pt x="86" y="129"/>
                  </a:lnTo>
                  <a:lnTo>
                    <a:pt x="34" y="129"/>
                  </a:lnTo>
                  <a:lnTo>
                    <a:pt x="17" y="11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33"/>
                  </a:lnTo>
                  <a:lnTo>
                    <a:pt x="34" y="15"/>
                  </a:lnTo>
                  <a:lnTo>
                    <a:pt x="52" y="33"/>
                  </a:lnTo>
                  <a:lnTo>
                    <a:pt x="34" y="48"/>
                  </a:lnTo>
                  <a:lnTo>
                    <a:pt x="34" y="81"/>
                  </a:lnTo>
                  <a:lnTo>
                    <a:pt x="52" y="63"/>
                  </a:lnTo>
                  <a:lnTo>
                    <a:pt x="52" y="33"/>
                  </a:lnTo>
                  <a:lnTo>
                    <a:pt x="86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138" y="15"/>
                  </a:lnTo>
                  <a:lnTo>
                    <a:pt x="138" y="33"/>
                  </a:lnTo>
                  <a:lnTo>
                    <a:pt x="190" y="33"/>
                  </a:lnTo>
                  <a:lnTo>
                    <a:pt x="224" y="48"/>
                  </a:lnTo>
                  <a:lnTo>
                    <a:pt x="261" y="33"/>
                  </a:lnTo>
                  <a:lnTo>
                    <a:pt x="295" y="33"/>
                  </a:lnTo>
                  <a:lnTo>
                    <a:pt x="278" y="33"/>
                  </a:lnTo>
                  <a:lnTo>
                    <a:pt x="295" y="48"/>
                  </a:lnTo>
                  <a:lnTo>
                    <a:pt x="330" y="63"/>
                  </a:lnTo>
                  <a:lnTo>
                    <a:pt x="330" y="96"/>
                  </a:lnTo>
                  <a:lnTo>
                    <a:pt x="347" y="81"/>
                  </a:lnTo>
                  <a:lnTo>
                    <a:pt x="365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3" name="Freeform 84">
              <a:extLst>
                <a:ext uri="{FF2B5EF4-FFF2-40B4-BE49-F238E27FC236}">
                  <a16:creationId xmlns:a16="http://schemas.microsoft.com/office/drawing/2014/main" id="{1C54D09D-C4AA-4D1F-971D-24DC1302F4F0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2178050" y="3954463"/>
              <a:ext cx="646113" cy="393700"/>
            </a:xfrm>
            <a:custGeom>
              <a:avLst/>
              <a:gdLst>
                <a:gd name="T0" fmla="*/ 107156 w 814"/>
                <a:gd name="T1" fmla="*/ 38023 h 497"/>
                <a:gd name="T2" fmla="*/ 103188 w 814"/>
                <a:gd name="T3" fmla="*/ 57035 h 497"/>
                <a:gd name="T4" fmla="*/ 107156 w 814"/>
                <a:gd name="T5" fmla="*/ 63372 h 497"/>
                <a:gd name="T6" fmla="*/ 123825 w 814"/>
                <a:gd name="T7" fmla="*/ 79215 h 497"/>
                <a:gd name="T8" fmla="*/ 141288 w 814"/>
                <a:gd name="T9" fmla="*/ 76047 h 497"/>
                <a:gd name="T10" fmla="*/ 141288 w 814"/>
                <a:gd name="T11" fmla="*/ 72878 h 497"/>
                <a:gd name="T12" fmla="*/ 148431 w 814"/>
                <a:gd name="T13" fmla="*/ 63372 h 497"/>
                <a:gd name="T14" fmla="*/ 161925 w 814"/>
                <a:gd name="T15" fmla="*/ 63372 h 497"/>
                <a:gd name="T16" fmla="*/ 157956 w 814"/>
                <a:gd name="T17" fmla="*/ 79215 h 497"/>
                <a:gd name="T18" fmla="*/ 151606 w 814"/>
                <a:gd name="T19" fmla="*/ 79215 h 497"/>
                <a:gd name="T20" fmla="*/ 138113 w 814"/>
                <a:gd name="T21" fmla="*/ 82384 h 497"/>
                <a:gd name="T22" fmla="*/ 138113 w 814"/>
                <a:gd name="T23" fmla="*/ 88721 h 497"/>
                <a:gd name="T24" fmla="*/ 123825 w 814"/>
                <a:gd name="T25" fmla="*/ 88721 h 497"/>
                <a:gd name="T26" fmla="*/ 113506 w 814"/>
                <a:gd name="T27" fmla="*/ 91890 h 497"/>
                <a:gd name="T28" fmla="*/ 85725 w 814"/>
                <a:gd name="T29" fmla="*/ 82384 h 497"/>
                <a:gd name="T30" fmla="*/ 73025 w 814"/>
                <a:gd name="T31" fmla="*/ 79215 h 497"/>
                <a:gd name="T32" fmla="*/ 62706 w 814"/>
                <a:gd name="T33" fmla="*/ 66541 h 497"/>
                <a:gd name="T34" fmla="*/ 62706 w 814"/>
                <a:gd name="T35" fmla="*/ 57035 h 497"/>
                <a:gd name="T36" fmla="*/ 40481 w 814"/>
                <a:gd name="T37" fmla="*/ 38023 h 497"/>
                <a:gd name="T38" fmla="*/ 34925 w 814"/>
                <a:gd name="T39" fmla="*/ 28518 h 497"/>
                <a:gd name="T40" fmla="*/ 30956 w 814"/>
                <a:gd name="T41" fmla="*/ 25349 h 497"/>
                <a:gd name="T42" fmla="*/ 19844 w 814"/>
                <a:gd name="T43" fmla="*/ 6337 h 497"/>
                <a:gd name="T44" fmla="*/ 10319 w 814"/>
                <a:gd name="T45" fmla="*/ 3169 h 497"/>
                <a:gd name="T46" fmla="*/ 30956 w 814"/>
                <a:gd name="T47" fmla="*/ 34855 h 497"/>
                <a:gd name="T48" fmla="*/ 38100 w 814"/>
                <a:gd name="T49" fmla="*/ 47529 h 497"/>
                <a:gd name="T50" fmla="*/ 38100 w 814"/>
                <a:gd name="T51" fmla="*/ 53866 h 497"/>
                <a:gd name="T52" fmla="*/ 23813 w 814"/>
                <a:gd name="T53" fmla="*/ 44361 h 497"/>
                <a:gd name="T54" fmla="*/ 23813 w 814"/>
                <a:gd name="T55" fmla="*/ 34855 h 497"/>
                <a:gd name="T56" fmla="*/ 10319 w 814"/>
                <a:gd name="T57" fmla="*/ 25349 h 497"/>
                <a:gd name="T58" fmla="*/ 17463 w 814"/>
                <a:gd name="T59" fmla="*/ 22180 h 497"/>
                <a:gd name="T60" fmla="*/ 0 w 814"/>
                <a:gd name="T61" fmla="*/ 0 h 497"/>
                <a:gd name="T62" fmla="*/ 30956 w 814"/>
                <a:gd name="T63" fmla="*/ 6337 h 497"/>
                <a:gd name="T64" fmla="*/ 65881 w 814"/>
                <a:gd name="T65" fmla="*/ 9506 h 497"/>
                <a:gd name="T66" fmla="*/ 73025 w 814"/>
                <a:gd name="T67" fmla="*/ 19012 h 497"/>
                <a:gd name="T68" fmla="*/ 79375 w 814"/>
                <a:gd name="T69" fmla="*/ 15843 h 497"/>
                <a:gd name="T70" fmla="*/ 96044 w 814"/>
                <a:gd name="T71" fmla="*/ 34855 h 49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14"/>
                <a:gd name="T109" fmla="*/ 0 h 497"/>
                <a:gd name="T110" fmla="*/ 814 w 814"/>
                <a:gd name="T111" fmla="*/ 497 h 49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14" h="497">
                  <a:moveTo>
                    <a:pt x="537" y="192"/>
                  </a:moveTo>
                  <a:lnTo>
                    <a:pt x="537" y="192"/>
                  </a:lnTo>
                  <a:lnTo>
                    <a:pt x="520" y="224"/>
                  </a:lnTo>
                  <a:lnTo>
                    <a:pt x="520" y="288"/>
                  </a:lnTo>
                  <a:lnTo>
                    <a:pt x="537" y="305"/>
                  </a:lnTo>
                  <a:lnTo>
                    <a:pt x="537" y="320"/>
                  </a:lnTo>
                  <a:lnTo>
                    <a:pt x="572" y="384"/>
                  </a:lnTo>
                  <a:lnTo>
                    <a:pt x="624" y="401"/>
                  </a:lnTo>
                  <a:lnTo>
                    <a:pt x="676" y="384"/>
                  </a:lnTo>
                  <a:lnTo>
                    <a:pt x="710" y="384"/>
                  </a:lnTo>
                  <a:lnTo>
                    <a:pt x="693" y="384"/>
                  </a:lnTo>
                  <a:lnTo>
                    <a:pt x="710" y="368"/>
                  </a:lnTo>
                  <a:lnTo>
                    <a:pt x="727" y="320"/>
                  </a:lnTo>
                  <a:lnTo>
                    <a:pt x="745" y="320"/>
                  </a:lnTo>
                  <a:lnTo>
                    <a:pt x="796" y="305"/>
                  </a:lnTo>
                  <a:lnTo>
                    <a:pt x="814" y="320"/>
                  </a:lnTo>
                  <a:lnTo>
                    <a:pt x="796" y="384"/>
                  </a:lnTo>
                  <a:lnTo>
                    <a:pt x="796" y="401"/>
                  </a:lnTo>
                  <a:lnTo>
                    <a:pt x="779" y="384"/>
                  </a:lnTo>
                  <a:lnTo>
                    <a:pt x="762" y="401"/>
                  </a:lnTo>
                  <a:lnTo>
                    <a:pt x="710" y="401"/>
                  </a:lnTo>
                  <a:lnTo>
                    <a:pt x="693" y="416"/>
                  </a:lnTo>
                  <a:lnTo>
                    <a:pt x="727" y="449"/>
                  </a:lnTo>
                  <a:lnTo>
                    <a:pt x="693" y="449"/>
                  </a:lnTo>
                  <a:lnTo>
                    <a:pt x="676" y="497"/>
                  </a:lnTo>
                  <a:lnTo>
                    <a:pt x="624" y="449"/>
                  </a:lnTo>
                  <a:lnTo>
                    <a:pt x="589" y="449"/>
                  </a:lnTo>
                  <a:lnTo>
                    <a:pt x="572" y="464"/>
                  </a:lnTo>
                  <a:lnTo>
                    <a:pt x="520" y="449"/>
                  </a:lnTo>
                  <a:lnTo>
                    <a:pt x="434" y="416"/>
                  </a:lnTo>
                  <a:lnTo>
                    <a:pt x="416" y="401"/>
                  </a:lnTo>
                  <a:lnTo>
                    <a:pt x="365" y="401"/>
                  </a:lnTo>
                  <a:lnTo>
                    <a:pt x="330" y="368"/>
                  </a:lnTo>
                  <a:lnTo>
                    <a:pt x="313" y="336"/>
                  </a:lnTo>
                  <a:lnTo>
                    <a:pt x="330" y="320"/>
                  </a:lnTo>
                  <a:lnTo>
                    <a:pt x="313" y="288"/>
                  </a:lnTo>
                  <a:lnTo>
                    <a:pt x="244" y="209"/>
                  </a:lnTo>
                  <a:lnTo>
                    <a:pt x="207" y="192"/>
                  </a:lnTo>
                  <a:lnTo>
                    <a:pt x="207" y="176"/>
                  </a:lnTo>
                  <a:lnTo>
                    <a:pt x="173" y="144"/>
                  </a:lnTo>
                  <a:lnTo>
                    <a:pt x="173" y="128"/>
                  </a:lnTo>
                  <a:lnTo>
                    <a:pt x="155" y="128"/>
                  </a:lnTo>
                  <a:lnTo>
                    <a:pt x="138" y="96"/>
                  </a:lnTo>
                  <a:lnTo>
                    <a:pt x="103" y="32"/>
                  </a:lnTo>
                  <a:lnTo>
                    <a:pt x="86" y="32"/>
                  </a:lnTo>
                  <a:lnTo>
                    <a:pt x="52" y="17"/>
                  </a:lnTo>
                  <a:lnTo>
                    <a:pt x="69" y="65"/>
                  </a:lnTo>
                  <a:lnTo>
                    <a:pt x="155" y="176"/>
                  </a:lnTo>
                  <a:lnTo>
                    <a:pt x="173" y="240"/>
                  </a:lnTo>
                  <a:lnTo>
                    <a:pt x="190" y="240"/>
                  </a:lnTo>
                  <a:lnTo>
                    <a:pt x="207" y="257"/>
                  </a:lnTo>
                  <a:lnTo>
                    <a:pt x="190" y="272"/>
                  </a:lnTo>
                  <a:lnTo>
                    <a:pt x="173" y="257"/>
                  </a:lnTo>
                  <a:lnTo>
                    <a:pt x="121" y="224"/>
                  </a:lnTo>
                  <a:lnTo>
                    <a:pt x="138" y="209"/>
                  </a:lnTo>
                  <a:lnTo>
                    <a:pt x="121" y="176"/>
                  </a:lnTo>
                  <a:lnTo>
                    <a:pt x="69" y="161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86" y="113"/>
                  </a:lnTo>
                  <a:lnTo>
                    <a:pt x="34" y="8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155" y="32"/>
                  </a:lnTo>
                  <a:lnTo>
                    <a:pt x="295" y="17"/>
                  </a:lnTo>
                  <a:lnTo>
                    <a:pt x="330" y="48"/>
                  </a:lnTo>
                  <a:lnTo>
                    <a:pt x="330" y="80"/>
                  </a:lnTo>
                  <a:lnTo>
                    <a:pt x="365" y="96"/>
                  </a:lnTo>
                  <a:lnTo>
                    <a:pt x="382" y="96"/>
                  </a:lnTo>
                  <a:lnTo>
                    <a:pt x="399" y="80"/>
                  </a:lnTo>
                  <a:lnTo>
                    <a:pt x="416" y="80"/>
                  </a:lnTo>
                  <a:lnTo>
                    <a:pt x="485" y="176"/>
                  </a:lnTo>
                  <a:lnTo>
                    <a:pt x="537" y="19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4" name="Freeform 85">
              <a:extLst>
                <a:ext uri="{FF2B5EF4-FFF2-40B4-BE49-F238E27FC236}">
                  <a16:creationId xmlns:a16="http://schemas.microsoft.com/office/drawing/2014/main" id="{56BFE0E6-5120-49EA-8475-1E2B915EC004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714625" y="4271963"/>
              <a:ext cx="82550" cy="88900"/>
            </a:xfrm>
            <a:custGeom>
              <a:avLst/>
              <a:gdLst>
                <a:gd name="T0" fmla="*/ 17632 w 103"/>
                <a:gd name="T1" fmla="*/ 9611 h 111"/>
                <a:gd name="T2" fmla="*/ 17632 w 103"/>
                <a:gd name="T3" fmla="*/ 9611 h 111"/>
                <a:gd name="T4" fmla="*/ 20838 w 103"/>
                <a:gd name="T5" fmla="*/ 12814 h 111"/>
                <a:gd name="T6" fmla="*/ 14426 w 103"/>
                <a:gd name="T7" fmla="*/ 19222 h 111"/>
                <a:gd name="T8" fmla="*/ 10419 w 103"/>
                <a:gd name="T9" fmla="*/ 22425 h 111"/>
                <a:gd name="T10" fmla="*/ 0 w 103"/>
                <a:gd name="T11" fmla="*/ 19222 h 111"/>
                <a:gd name="T12" fmla="*/ 4007 w 103"/>
                <a:gd name="T13" fmla="*/ 9611 h 111"/>
                <a:gd name="T14" fmla="*/ 10419 w 103"/>
                <a:gd name="T15" fmla="*/ 9611 h 111"/>
                <a:gd name="T16" fmla="*/ 4007 w 103"/>
                <a:gd name="T17" fmla="*/ 3204 h 111"/>
                <a:gd name="T18" fmla="*/ 7213 w 103"/>
                <a:gd name="T19" fmla="*/ 0 h 111"/>
                <a:gd name="T20" fmla="*/ 17632 w 103"/>
                <a:gd name="T21" fmla="*/ 0 h 111"/>
                <a:gd name="T22" fmla="*/ 17632 w 103"/>
                <a:gd name="T23" fmla="*/ 9611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111"/>
                <a:gd name="T38" fmla="*/ 103 w 103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111">
                  <a:moveTo>
                    <a:pt x="86" y="48"/>
                  </a:moveTo>
                  <a:lnTo>
                    <a:pt x="86" y="48"/>
                  </a:lnTo>
                  <a:lnTo>
                    <a:pt x="103" y="63"/>
                  </a:lnTo>
                  <a:lnTo>
                    <a:pt x="69" y="96"/>
                  </a:lnTo>
                  <a:lnTo>
                    <a:pt x="51" y="111"/>
                  </a:lnTo>
                  <a:lnTo>
                    <a:pt x="0" y="96"/>
                  </a:lnTo>
                  <a:lnTo>
                    <a:pt x="17" y="48"/>
                  </a:lnTo>
                  <a:lnTo>
                    <a:pt x="51" y="48"/>
                  </a:lnTo>
                  <a:lnTo>
                    <a:pt x="17" y="15"/>
                  </a:lnTo>
                  <a:lnTo>
                    <a:pt x="34" y="0"/>
                  </a:lnTo>
                  <a:lnTo>
                    <a:pt x="86" y="0"/>
                  </a:lnTo>
                  <a:lnTo>
                    <a:pt x="86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5" name="Freeform 86">
              <a:extLst>
                <a:ext uri="{FF2B5EF4-FFF2-40B4-BE49-F238E27FC236}">
                  <a16:creationId xmlns:a16="http://schemas.microsoft.com/office/drawing/2014/main" id="{37A4496B-EFB8-4513-B5C8-3BBD63DEACA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2771775" y="4322763"/>
              <a:ext cx="134938" cy="50800"/>
            </a:xfrm>
            <a:custGeom>
              <a:avLst/>
              <a:gdLst>
                <a:gd name="T0" fmla="*/ 7144 w 170"/>
                <a:gd name="T1" fmla="*/ 0 h 63"/>
                <a:gd name="T2" fmla="*/ 7144 w 170"/>
                <a:gd name="T3" fmla="*/ 0 h 63"/>
                <a:gd name="T4" fmla="*/ 23019 w 170"/>
                <a:gd name="T5" fmla="*/ 0 h 63"/>
                <a:gd name="T6" fmla="*/ 34131 w 170"/>
                <a:gd name="T7" fmla="*/ 3225 h 63"/>
                <a:gd name="T8" fmla="*/ 26988 w 170"/>
                <a:gd name="T9" fmla="*/ 7257 h 63"/>
                <a:gd name="T10" fmla="*/ 14288 w 170"/>
                <a:gd name="T11" fmla="*/ 12902 h 63"/>
                <a:gd name="T12" fmla="*/ 9525 w 170"/>
                <a:gd name="T13" fmla="*/ 12902 h 63"/>
                <a:gd name="T14" fmla="*/ 9525 w 170"/>
                <a:gd name="T15" fmla="*/ 9676 h 63"/>
                <a:gd name="T16" fmla="*/ 0 w 170"/>
                <a:gd name="T17" fmla="*/ 7257 h 63"/>
                <a:gd name="T18" fmla="*/ 7144 w 170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0"/>
                <a:gd name="T31" fmla="*/ 0 h 63"/>
                <a:gd name="T32" fmla="*/ 170 w 170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0" h="63">
                  <a:moveTo>
                    <a:pt x="34" y="0"/>
                  </a:moveTo>
                  <a:lnTo>
                    <a:pt x="34" y="0"/>
                  </a:lnTo>
                  <a:lnTo>
                    <a:pt x="119" y="0"/>
                  </a:lnTo>
                  <a:lnTo>
                    <a:pt x="170" y="15"/>
                  </a:lnTo>
                  <a:lnTo>
                    <a:pt x="136" y="33"/>
                  </a:lnTo>
                  <a:lnTo>
                    <a:pt x="69" y="63"/>
                  </a:lnTo>
                  <a:lnTo>
                    <a:pt x="51" y="63"/>
                  </a:lnTo>
                  <a:lnTo>
                    <a:pt x="51" y="48"/>
                  </a:lnTo>
                  <a:lnTo>
                    <a:pt x="0" y="3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6" name="Freeform 87">
              <a:extLst>
                <a:ext uri="{FF2B5EF4-FFF2-40B4-BE49-F238E27FC236}">
                  <a16:creationId xmlns:a16="http://schemas.microsoft.com/office/drawing/2014/main" id="{A2473A2B-3A0D-469D-BF65-F7038FD3B8C6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2755900" y="4348163"/>
              <a:ext cx="57150" cy="25400"/>
            </a:xfrm>
            <a:custGeom>
              <a:avLst/>
              <a:gdLst>
                <a:gd name="T0" fmla="*/ 4025 w 71"/>
                <a:gd name="T1" fmla="*/ 0 h 30"/>
                <a:gd name="T2" fmla="*/ 4025 w 71"/>
                <a:gd name="T3" fmla="*/ 0 h 30"/>
                <a:gd name="T4" fmla="*/ 0 w 71"/>
                <a:gd name="T5" fmla="*/ 3387 h 30"/>
                <a:gd name="T6" fmla="*/ 4025 w 71"/>
                <a:gd name="T7" fmla="*/ 7620 h 30"/>
                <a:gd name="T8" fmla="*/ 14489 w 71"/>
                <a:gd name="T9" fmla="*/ 7620 h 30"/>
                <a:gd name="T10" fmla="*/ 14489 w 71"/>
                <a:gd name="T11" fmla="*/ 3387 h 30"/>
                <a:gd name="T12" fmla="*/ 4025 w 7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30"/>
                <a:gd name="T23" fmla="*/ 71 w 7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30">
                  <a:moveTo>
                    <a:pt x="20" y="0"/>
                  </a:moveTo>
                  <a:lnTo>
                    <a:pt x="20" y="0"/>
                  </a:lnTo>
                  <a:lnTo>
                    <a:pt x="0" y="15"/>
                  </a:lnTo>
                  <a:lnTo>
                    <a:pt x="20" y="30"/>
                  </a:lnTo>
                  <a:lnTo>
                    <a:pt x="71" y="30"/>
                  </a:lnTo>
                  <a:lnTo>
                    <a:pt x="71" y="15"/>
                  </a:lnTo>
                  <a:lnTo>
                    <a:pt x="2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7" name="Freeform 88">
              <a:extLst>
                <a:ext uri="{FF2B5EF4-FFF2-40B4-BE49-F238E27FC236}">
                  <a16:creationId xmlns:a16="http://schemas.microsoft.com/office/drawing/2014/main" id="{F13978EF-C58B-40E8-9B0E-40A0F49E73B9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2824163" y="4335463"/>
              <a:ext cx="82550" cy="88900"/>
            </a:xfrm>
            <a:custGeom>
              <a:avLst/>
              <a:gdLst>
                <a:gd name="T0" fmla="*/ 20838 w 103"/>
                <a:gd name="T1" fmla="*/ 0 h 114"/>
                <a:gd name="T2" fmla="*/ 20838 w 103"/>
                <a:gd name="T3" fmla="*/ 0 h 114"/>
                <a:gd name="T4" fmla="*/ 20838 w 103"/>
                <a:gd name="T5" fmla="*/ 3119 h 114"/>
                <a:gd name="T6" fmla="*/ 17632 w 103"/>
                <a:gd name="T7" fmla="*/ 17936 h 114"/>
                <a:gd name="T8" fmla="*/ 20838 w 103"/>
                <a:gd name="T9" fmla="*/ 21835 h 114"/>
                <a:gd name="T10" fmla="*/ 17632 w 103"/>
                <a:gd name="T11" fmla="*/ 21835 h 114"/>
                <a:gd name="T12" fmla="*/ 7213 w 103"/>
                <a:gd name="T13" fmla="*/ 17936 h 114"/>
                <a:gd name="T14" fmla="*/ 0 w 103"/>
                <a:gd name="T15" fmla="*/ 12477 h 114"/>
                <a:gd name="T16" fmla="*/ 0 w 103"/>
                <a:gd name="T17" fmla="*/ 9358 h 114"/>
                <a:gd name="T18" fmla="*/ 14426 w 103"/>
                <a:gd name="T19" fmla="*/ 3119 h 114"/>
                <a:gd name="T20" fmla="*/ 20838 w 103"/>
                <a:gd name="T21" fmla="*/ 0 h 1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3"/>
                <a:gd name="T34" fmla="*/ 0 h 114"/>
                <a:gd name="T35" fmla="*/ 103 w 103"/>
                <a:gd name="T36" fmla="*/ 114 h 1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3" h="114">
                  <a:moveTo>
                    <a:pt x="103" y="0"/>
                  </a:moveTo>
                  <a:lnTo>
                    <a:pt x="103" y="0"/>
                  </a:lnTo>
                  <a:lnTo>
                    <a:pt x="103" y="18"/>
                  </a:lnTo>
                  <a:lnTo>
                    <a:pt x="86" y="96"/>
                  </a:lnTo>
                  <a:lnTo>
                    <a:pt x="103" y="114"/>
                  </a:lnTo>
                  <a:lnTo>
                    <a:pt x="86" y="114"/>
                  </a:lnTo>
                  <a:lnTo>
                    <a:pt x="34" y="96"/>
                  </a:lnTo>
                  <a:lnTo>
                    <a:pt x="0" y="66"/>
                  </a:lnTo>
                  <a:lnTo>
                    <a:pt x="0" y="48"/>
                  </a:lnTo>
                  <a:lnTo>
                    <a:pt x="69" y="18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8" name="Freeform 89">
              <a:extLst>
                <a:ext uri="{FF2B5EF4-FFF2-40B4-BE49-F238E27FC236}">
                  <a16:creationId xmlns:a16="http://schemas.microsoft.com/office/drawing/2014/main" id="{AB30A225-BE21-4073-B8BD-C4E03B4907F7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2854325" y="4411663"/>
              <a:ext cx="68263" cy="63500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9407 h 81"/>
                <a:gd name="T6" fmla="*/ 13339 w 87"/>
                <a:gd name="T7" fmla="*/ 6272 h 81"/>
                <a:gd name="T8" fmla="*/ 13339 w 87"/>
                <a:gd name="T9" fmla="*/ 3136 h 81"/>
                <a:gd name="T10" fmla="*/ 10200 w 87"/>
                <a:gd name="T11" fmla="*/ 3136 h 81"/>
                <a:gd name="T12" fmla="*/ 0 w 87"/>
                <a:gd name="T13" fmla="*/ 0 h 81"/>
                <a:gd name="T14" fmla="*/ 0 w 87"/>
                <a:gd name="T15" fmla="*/ 6272 h 81"/>
                <a:gd name="T16" fmla="*/ 3139 w 87"/>
                <a:gd name="T17" fmla="*/ 9407 h 81"/>
                <a:gd name="T18" fmla="*/ 6277 w 87"/>
                <a:gd name="T19" fmla="*/ 6272 h 81"/>
                <a:gd name="T20" fmla="*/ 10200 w 87"/>
                <a:gd name="T21" fmla="*/ 12543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48"/>
                  </a:lnTo>
                  <a:lnTo>
                    <a:pt x="69" y="33"/>
                  </a:lnTo>
                  <a:lnTo>
                    <a:pt x="69" y="18"/>
                  </a:lnTo>
                  <a:lnTo>
                    <a:pt x="52" y="18"/>
                  </a:lnTo>
                  <a:lnTo>
                    <a:pt x="0" y="0"/>
                  </a:lnTo>
                  <a:lnTo>
                    <a:pt x="0" y="33"/>
                  </a:lnTo>
                  <a:lnTo>
                    <a:pt x="18" y="48"/>
                  </a:lnTo>
                  <a:lnTo>
                    <a:pt x="35" y="33"/>
                  </a:lnTo>
                  <a:lnTo>
                    <a:pt x="52" y="66"/>
                  </a:lnTo>
                  <a:lnTo>
                    <a:pt x="87" y="8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29" name="Freeform 90">
              <a:extLst>
                <a:ext uri="{FF2B5EF4-FFF2-40B4-BE49-F238E27FC236}">
                  <a16:creationId xmlns:a16="http://schemas.microsoft.com/office/drawing/2014/main" id="{FF1DB839-4A52-485B-9BE1-35FBE7DC8F55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922588" y="4449763"/>
              <a:ext cx="66675" cy="50800"/>
            </a:xfrm>
            <a:custGeom>
              <a:avLst/>
              <a:gdLst>
                <a:gd name="T0" fmla="*/ 0 w 84"/>
                <a:gd name="T1" fmla="*/ 6158 h 66"/>
                <a:gd name="T2" fmla="*/ 0 w 84"/>
                <a:gd name="T3" fmla="*/ 6158 h 66"/>
                <a:gd name="T4" fmla="*/ 9525 w 84"/>
                <a:gd name="T5" fmla="*/ 8467 h 66"/>
                <a:gd name="T6" fmla="*/ 9525 w 84"/>
                <a:gd name="T7" fmla="*/ 12315 h 66"/>
                <a:gd name="T8" fmla="*/ 14288 w 84"/>
                <a:gd name="T9" fmla="*/ 8467 h 66"/>
                <a:gd name="T10" fmla="*/ 9525 w 84"/>
                <a:gd name="T11" fmla="*/ 6158 h 66"/>
                <a:gd name="T12" fmla="*/ 16669 w 84"/>
                <a:gd name="T13" fmla="*/ 3079 h 66"/>
                <a:gd name="T14" fmla="*/ 14288 w 84"/>
                <a:gd name="T15" fmla="*/ 0 h 66"/>
                <a:gd name="T16" fmla="*/ 7144 w 84"/>
                <a:gd name="T17" fmla="*/ 3079 h 66"/>
                <a:gd name="T18" fmla="*/ 3969 w 84"/>
                <a:gd name="T19" fmla="*/ 3079 h 66"/>
                <a:gd name="T20" fmla="*/ 0 w 84"/>
                <a:gd name="T21" fmla="*/ 0 h 66"/>
                <a:gd name="T22" fmla="*/ 0 w 84"/>
                <a:gd name="T23" fmla="*/ 6158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66"/>
                <a:gd name="T38" fmla="*/ 84 w 84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66">
                  <a:moveTo>
                    <a:pt x="0" y="33"/>
                  </a:moveTo>
                  <a:lnTo>
                    <a:pt x="0" y="33"/>
                  </a:lnTo>
                  <a:lnTo>
                    <a:pt x="51" y="48"/>
                  </a:lnTo>
                  <a:lnTo>
                    <a:pt x="51" y="66"/>
                  </a:lnTo>
                  <a:lnTo>
                    <a:pt x="69" y="48"/>
                  </a:lnTo>
                  <a:lnTo>
                    <a:pt x="51" y="33"/>
                  </a:lnTo>
                  <a:lnTo>
                    <a:pt x="84" y="18"/>
                  </a:lnTo>
                  <a:lnTo>
                    <a:pt x="69" y="0"/>
                  </a:lnTo>
                  <a:lnTo>
                    <a:pt x="34" y="18"/>
                  </a:lnTo>
                  <a:lnTo>
                    <a:pt x="17" y="18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0" name="Freeform 91">
              <a:extLst>
                <a:ext uri="{FF2B5EF4-FFF2-40B4-BE49-F238E27FC236}">
                  <a16:creationId xmlns:a16="http://schemas.microsoft.com/office/drawing/2014/main" id="{F4CAD698-1826-4CEA-BF2B-3319C1BF75D2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990850" y="4449763"/>
              <a:ext cx="55563" cy="50800"/>
            </a:xfrm>
            <a:custGeom>
              <a:avLst/>
              <a:gdLst>
                <a:gd name="T0" fmla="*/ 10468 w 69"/>
                <a:gd name="T1" fmla="*/ 3079 h 66"/>
                <a:gd name="T2" fmla="*/ 10468 w 69"/>
                <a:gd name="T3" fmla="*/ 3079 h 66"/>
                <a:gd name="T4" fmla="*/ 14495 w 69"/>
                <a:gd name="T5" fmla="*/ 6158 h 66"/>
                <a:gd name="T6" fmla="*/ 10468 w 69"/>
                <a:gd name="T7" fmla="*/ 8467 h 66"/>
                <a:gd name="T8" fmla="*/ 10468 w 69"/>
                <a:gd name="T9" fmla="*/ 12315 h 66"/>
                <a:gd name="T10" fmla="*/ 7247 w 69"/>
                <a:gd name="T11" fmla="*/ 6158 h 66"/>
                <a:gd name="T12" fmla="*/ 0 w 69"/>
                <a:gd name="T13" fmla="*/ 3079 h 66"/>
                <a:gd name="T14" fmla="*/ 0 w 69"/>
                <a:gd name="T15" fmla="*/ 0 h 66"/>
                <a:gd name="T16" fmla="*/ 4026 w 69"/>
                <a:gd name="T17" fmla="*/ 0 h 66"/>
                <a:gd name="T18" fmla="*/ 7247 w 69"/>
                <a:gd name="T19" fmla="*/ 0 h 66"/>
                <a:gd name="T20" fmla="*/ 10468 w 69"/>
                <a:gd name="T21" fmla="*/ 3079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66"/>
                <a:gd name="T35" fmla="*/ 69 w 69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66">
                  <a:moveTo>
                    <a:pt x="52" y="18"/>
                  </a:moveTo>
                  <a:lnTo>
                    <a:pt x="52" y="18"/>
                  </a:lnTo>
                  <a:lnTo>
                    <a:pt x="69" y="33"/>
                  </a:lnTo>
                  <a:lnTo>
                    <a:pt x="52" y="48"/>
                  </a:lnTo>
                  <a:lnTo>
                    <a:pt x="52" y="66"/>
                  </a:lnTo>
                  <a:lnTo>
                    <a:pt x="35" y="33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52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1" name="Freeform 92">
              <a:extLst>
                <a:ext uri="{FF2B5EF4-FFF2-40B4-BE49-F238E27FC236}">
                  <a16:creationId xmlns:a16="http://schemas.microsoft.com/office/drawing/2014/main" id="{5000AB90-63FC-47A6-967F-3A88E61DE767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976563" y="4449763"/>
              <a:ext cx="14288" cy="12700"/>
            </a:xfrm>
            <a:custGeom>
              <a:avLst/>
              <a:gdLst>
                <a:gd name="T0" fmla="*/ 4202 w 17"/>
                <a:gd name="T1" fmla="*/ 2822 h 18"/>
                <a:gd name="T2" fmla="*/ 4202 w 17"/>
                <a:gd name="T3" fmla="*/ 2822 h 18"/>
                <a:gd name="T4" fmla="*/ 4202 w 17"/>
                <a:gd name="T5" fmla="*/ 0 h 18"/>
                <a:gd name="T6" fmla="*/ 0 w 17"/>
                <a:gd name="T7" fmla="*/ 0 h 18"/>
                <a:gd name="T8" fmla="*/ 4202 w 17"/>
                <a:gd name="T9" fmla="*/ 282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2" name="Freeform 93">
              <a:extLst>
                <a:ext uri="{FF2B5EF4-FFF2-40B4-BE49-F238E27FC236}">
                  <a16:creationId xmlns:a16="http://schemas.microsoft.com/office/drawing/2014/main" id="{0CFDCA32-A502-47B5-8F4A-23C16DFE6DDB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558087" y="4643438"/>
              <a:ext cx="217488" cy="177800"/>
            </a:xfrm>
            <a:custGeom>
              <a:avLst/>
              <a:gdLst>
                <a:gd name="T0" fmla="*/ 53779 w 275"/>
                <a:gd name="T1" fmla="*/ 12644 h 225"/>
                <a:gd name="T2" fmla="*/ 53779 w 275"/>
                <a:gd name="T3" fmla="*/ 12644 h 225"/>
                <a:gd name="T4" fmla="*/ 53779 w 275"/>
                <a:gd name="T5" fmla="*/ 25287 h 225"/>
                <a:gd name="T6" fmla="*/ 53779 w 275"/>
                <a:gd name="T7" fmla="*/ 44252 h 225"/>
                <a:gd name="T8" fmla="*/ 47452 w 275"/>
                <a:gd name="T9" fmla="*/ 37931 h 225"/>
                <a:gd name="T10" fmla="*/ 37171 w 275"/>
                <a:gd name="T11" fmla="*/ 41092 h 225"/>
                <a:gd name="T12" fmla="*/ 40334 w 275"/>
                <a:gd name="T13" fmla="*/ 34770 h 225"/>
                <a:gd name="T14" fmla="*/ 37171 w 275"/>
                <a:gd name="T15" fmla="*/ 28448 h 225"/>
                <a:gd name="T16" fmla="*/ 13445 w 275"/>
                <a:gd name="T17" fmla="*/ 15804 h 225"/>
                <a:gd name="T18" fmla="*/ 10281 w 275"/>
                <a:gd name="T19" fmla="*/ 18965 h 225"/>
                <a:gd name="T20" fmla="*/ 10281 w 275"/>
                <a:gd name="T21" fmla="*/ 15804 h 225"/>
                <a:gd name="T22" fmla="*/ 6327 w 275"/>
                <a:gd name="T23" fmla="*/ 12644 h 225"/>
                <a:gd name="T24" fmla="*/ 13445 w 275"/>
                <a:gd name="T25" fmla="*/ 12644 h 225"/>
                <a:gd name="T26" fmla="*/ 16608 w 275"/>
                <a:gd name="T27" fmla="*/ 9483 h 225"/>
                <a:gd name="T28" fmla="*/ 6327 w 275"/>
                <a:gd name="T29" fmla="*/ 9483 h 225"/>
                <a:gd name="T30" fmla="*/ 3163 w 275"/>
                <a:gd name="T31" fmla="*/ 6322 h 225"/>
                <a:gd name="T32" fmla="*/ 0 w 275"/>
                <a:gd name="T33" fmla="*/ 6322 h 225"/>
                <a:gd name="T34" fmla="*/ 6327 w 275"/>
                <a:gd name="T35" fmla="*/ 0 h 225"/>
                <a:gd name="T36" fmla="*/ 10281 w 275"/>
                <a:gd name="T37" fmla="*/ 0 h 225"/>
                <a:gd name="T38" fmla="*/ 16608 w 275"/>
                <a:gd name="T39" fmla="*/ 3161 h 225"/>
                <a:gd name="T40" fmla="*/ 16608 w 275"/>
                <a:gd name="T41" fmla="*/ 9483 h 225"/>
                <a:gd name="T42" fmla="*/ 22935 w 275"/>
                <a:gd name="T43" fmla="*/ 15804 h 225"/>
                <a:gd name="T44" fmla="*/ 30053 w 275"/>
                <a:gd name="T45" fmla="*/ 9483 h 225"/>
                <a:gd name="T46" fmla="*/ 37171 w 275"/>
                <a:gd name="T47" fmla="*/ 6322 h 225"/>
                <a:gd name="T48" fmla="*/ 53779 w 275"/>
                <a:gd name="T49" fmla="*/ 12644 h 22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5"/>
                <a:gd name="T76" fmla="*/ 0 h 225"/>
                <a:gd name="T77" fmla="*/ 275 w 275"/>
                <a:gd name="T78" fmla="*/ 225 h 22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5" h="225">
                  <a:moveTo>
                    <a:pt x="275" y="65"/>
                  </a:moveTo>
                  <a:lnTo>
                    <a:pt x="275" y="65"/>
                  </a:lnTo>
                  <a:lnTo>
                    <a:pt x="275" y="129"/>
                  </a:lnTo>
                  <a:lnTo>
                    <a:pt x="275" y="225"/>
                  </a:lnTo>
                  <a:lnTo>
                    <a:pt x="240" y="192"/>
                  </a:lnTo>
                  <a:lnTo>
                    <a:pt x="189" y="209"/>
                  </a:lnTo>
                  <a:lnTo>
                    <a:pt x="206" y="177"/>
                  </a:lnTo>
                  <a:lnTo>
                    <a:pt x="189" y="144"/>
                  </a:lnTo>
                  <a:lnTo>
                    <a:pt x="68" y="81"/>
                  </a:lnTo>
                  <a:lnTo>
                    <a:pt x="52" y="96"/>
                  </a:lnTo>
                  <a:lnTo>
                    <a:pt x="52" y="81"/>
                  </a:lnTo>
                  <a:lnTo>
                    <a:pt x="35" y="65"/>
                  </a:lnTo>
                  <a:lnTo>
                    <a:pt x="68" y="65"/>
                  </a:lnTo>
                  <a:lnTo>
                    <a:pt x="85" y="48"/>
                  </a:lnTo>
                  <a:lnTo>
                    <a:pt x="35" y="48"/>
                  </a:lnTo>
                  <a:lnTo>
                    <a:pt x="18" y="33"/>
                  </a:lnTo>
                  <a:lnTo>
                    <a:pt x="0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85" y="18"/>
                  </a:lnTo>
                  <a:lnTo>
                    <a:pt x="85" y="48"/>
                  </a:lnTo>
                  <a:lnTo>
                    <a:pt x="119" y="81"/>
                  </a:lnTo>
                  <a:lnTo>
                    <a:pt x="154" y="48"/>
                  </a:lnTo>
                  <a:lnTo>
                    <a:pt x="189" y="33"/>
                  </a:lnTo>
                  <a:lnTo>
                    <a:pt x="275" y="6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3" name="Freeform 94">
              <a:extLst>
                <a:ext uri="{FF2B5EF4-FFF2-40B4-BE49-F238E27FC236}">
                  <a16:creationId xmlns:a16="http://schemas.microsoft.com/office/drawing/2014/main" id="{02B05157-7E96-4193-8461-D66BDDDCAE13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775574" y="4694238"/>
              <a:ext cx="207963" cy="165100"/>
            </a:xfrm>
            <a:custGeom>
              <a:avLst/>
              <a:gdLst>
                <a:gd name="T0" fmla="*/ 0 w 261"/>
                <a:gd name="T1" fmla="*/ 31750 h 208"/>
                <a:gd name="T2" fmla="*/ 0 w 261"/>
                <a:gd name="T3" fmla="*/ 31750 h 208"/>
                <a:gd name="T4" fmla="*/ 0 w 261"/>
                <a:gd name="T5" fmla="*/ 12700 h 208"/>
                <a:gd name="T6" fmla="*/ 0 w 261"/>
                <a:gd name="T7" fmla="*/ 0 h 208"/>
                <a:gd name="T8" fmla="*/ 14342 w 261"/>
                <a:gd name="T9" fmla="*/ 3175 h 208"/>
                <a:gd name="T10" fmla="*/ 24701 w 261"/>
                <a:gd name="T11" fmla="*/ 9525 h 208"/>
                <a:gd name="T12" fmla="*/ 24701 w 261"/>
                <a:gd name="T13" fmla="*/ 12700 h 208"/>
                <a:gd name="T14" fmla="*/ 38246 w 261"/>
                <a:gd name="T15" fmla="*/ 19050 h 208"/>
                <a:gd name="T16" fmla="*/ 31872 w 261"/>
                <a:gd name="T17" fmla="*/ 22225 h 208"/>
                <a:gd name="T18" fmla="*/ 35059 w 261"/>
                <a:gd name="T19" fmla="*/ 22225 h 208"/>
                <a:gd name="T20" fmla="*/ 38246 w 261"/>
                <a:gd name="T21" fmla="*/ 24606 h 208"/>
                <a:gd name="T22" fmla="*/ 42230 w 261"/>
                <a:gd name="T23" fmla="*/ 31750 h 208"/>
                <a:gd name="T24" fmla="*/ 45417 w 261"/>
                <a:gd name="T25" fmla="*/ 31750 h 208"/>
                <a:gd name="T26" fmla="*/ 45417 w 261"/>
                <a:gd name="T27" fmla="*/ 34925 h 208"/>
                <a:gd name="T28" fmla="*/ 52588 w 261"/>
                <a:gd name="T29" fmla="*/ 38100 h 208"/>
                <a:gd name="T30" fmla="*/ 52588 w 261"/>
                <a:gd name="T31" fmla="*/ 41275 h 208"/>
                <a:gd name="T32" fmla="*/ 35059 w 261"/>
                <a:gd name="T33" fmla="*/ 38100 h 208"/>
                <a:gd name="T34" fmla="*/ 27888 w 261"/>
                <a:gd name="T35" fmla="*/ 24606 h 208"/>
                <a:gd name="T36" fmla="*/ 20717 w 261"/>
                <a:gd name="T37" fmla="*/ 24606 h 208"/>
                <a:gd name="T38" fmla="*/ 17529 w 261"/>
                <a:gd name="T39" fmla="*/ 24606 h 208"/>
                <a:gd name="T40" fmla="*/ 10358 w 261"/>
                <a:gd name="T41" fmla="*/ 28575 h 208"/>
                <a:gd name="T42" fmla="*/ 14342 w 261"/>
                <a:gd name="T43" fmla="*/ 31750 h 208"/>
                <a:gd name="T44" fmla="*/ 7171 w 261"/>
                <a:gd name="T45" fmla="*/ 31750 h 208"/>
                <a:gd name="T46" fmla="*/ 0 w 261"/>
                <a:gd name="T47" fmla="*/ 31750 h 2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208"/>
                <a:gd name="T74" fmla="*/ 261 w 261"/>
                <a:gd name="T75" fmla="*/ 208 h 20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208">
                  <a:moveTo>
                    <a:pt x="0" y="160"/>
                  </a:moveTo>
                  <a:lnTo>
                    <a:pt x="0" y="160"/>
                  </a:lnTo>
                  <a:lnTo>
                    <a:pt x="0" y="64"/>
                  </a:lnTo>
                  <a:lnTo>
                    <a:pt x="0" y="0"/>
                  </a:lnTo>
                  <a:lnTo>
                    <a:pt x="69" y="16"/>
                  </a:lnTo>
                  <a:lnTo>
                    <a:pt x="121" y="48"/>
                  </a:lnTo>
                  <a:lnTo>
                    <a:pt x="121" y="64"/>
                  </a:lnTo>
                  <a:lnTo>
                    <a:pt x="192" y="96"/>
                  </a:lnTo>
                  <a:lnTo>
                    <a:pt x="157" y="112"/>
                  </a:lnTo>
                  <a:lnTo>
                    <a:pt x="175" y="112"/>
                  </a:lnTo>
                  <a:lnTo>
                    <a:pt x="192" y="127"/>
                  </a:lnTo>
                  <a:lnTo>
                    <a:pt x="209" y="160"/>
                  </a:lnTo>
                  <a:lnTo>
                    <a:pt x="226" y="160"/>
                  </a:lnTo>
                  <a:lnTo>
                    <a:pt x="226" y="175"/>
                  </a:lnTo>
                  <a:lnTo>
                    <a:pt x="261" y="192"/>
                  </a:lnTo>
                  <a:lnTo>
                    <a:pt x="261" y="208"/>
                  </a:lnTo>
                  <a:lnTo>
                    <a:pt x="175" y="192"/>
                  </a:lnTo>
                  <a:lnTo>
                    <a:pt x="140" y="127"/>
                  </a:lnTo>
                  <a:lnTo>
                    <a:pt x="104" y="127"/>
                  </a:lnTo>
                  <a:lnTo>
                    <a:pt x="86" y="127"/>
                  </a:lnTo>
                  <a:lnTo>
                    <a:pt x="52" y="144"/>
                  </a:lnTo>
                  <a:lnTo>
                    <a:pt x="69" y="160"/>
                  </a:lnTo>
                  <a:lnTo>
                    <a:pt x="34" y="160"/>
                  </a:lnTo>
                  <a:lnTo>
                    <a:pt x="0" y="16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4" name="Freeform 95">
              <a:extLst>
                <a:ext uri="{FF2B5EF4-FFF2-40B4-BE49-F238E27FC236}">
                  <a16:creationId xmlns:a16="http://schemas.microsoft.com/office/drawing/2014/main" id="{F28322F3-DD9D-43D5-8D67-E72CCDB425D9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170737" y="4859338"/>
              <a:ext cx="881063" cy="635000"/>
            </a:xfrm>
            <a:custGeom>
              <a:avLst/>
              <a:gdLst>
                <a:gd name="T0" fmla="*/ 11123 w 1109"/>
                <a:gd name="T1" fmla="*/ 127000 h 800"/>
                <a:gd name="T2" fmla="*/ 27806 w 1109"/>
                <a:gd name="T3" fmla="*/ 133350 h 800"/>
                <a:gd name="T4" fmla="*/ 55613 w 1109"/>
                <a:gd name="T5" fmla="*/ 123825 h 800"/>
                <a:gd name="T6" fmla="*/ 73091 w 1109"/>
                <a:gd name="T7" fmla="*/ 114300 h 800"/>
                <a:gd name="T8" fmla="*/ 114403 w 1109"/>
                <a:gd name="T9" fmla="*/ 117475 h 800"/>
                <a:gd name="T10" fmla="*/ 117581 w 1109"/>
                <a:gd name="T11" fmla="*/ 120650 h 800"/>
                <a:gd name="T12" fmla="*/ 135059 w 1109"/>
                <a:gd name="T13" fmla="*/ 117475 h 800"/>
                <a:gd name="T14" fmla="*/ 131087 w 1109"/>
                <a:gd name="T15" fmla="*/ 133350 h 800"/>
                <a:gd name="T16" fmla="*/ 135059 w 1109"/>
                <a:gd name="T17" fmla="*/ 127000 h 800"/>
                <a:gd name="T18" fmla="*/ 135059 w 1109"/>
                <a:gd name="T19" fmla="*/ 136525 h 800"/>
                <a:gd name="T20" fmla="*/ 145387 w 1109"/>
                <a:gd name="T21" fmla="*/ 142875 h 800"/>
                <a:gd name="T22" fmla="*/ 148565 w 1109"/>
                <a:gd name="T23" fmla="*/ 149225 h 800"/>
                <a:gd name="T24" fmla="*/ 162071 w 1109"/>
                <a:gd name="T25" fmla="*/ 152400 h 800"/>
                <a:gd name="T26" fmla="*/ 172399 w 1109"/>
                <a:gd name="T27" fmla="*/ 149225 h 800"/>
                <a:gd name="T28" fmla="*/ 176371 w 1109"/>
                <a:gd name="T29" fmla="*/ 152400 h 800"/>
                <a:gd name="T30" fmla="*/ 182727 w 1109"/>
                <a:gd name="T31" fmla="*/ 158750 h 800"/>
                <a:gd name="T32" fmla="*/ 200205 w 1109"/>
                <a:gd name="T33" fmla="*/ 149225 h 800"/>
                <a:gd name="T34" fmla="*/ 216889 w 1109"/>
                <a:gd name="T35" fmla="*/ 107950 h 800"/>
                <a:gd name="T36" fmla="*/ 216889 w 1109"/>
                <a:gd name="T37" fmla="*/ 79375 h 800"/>
                <a:gd name="T38" fmla="*/ 206561 w 1109"/>
                <a:gd name="T39" fmla="*/ 66675 h 800"/>
                <a:gd name="T40" fmla="*/ 200205 w 1109"/>
                <a:gd name="T41" fmla="*/ 57150 h 800"/>
                <a:gd name="T42" fmla="*/ 193055 w 1109"/>
                <a:gd name="T43" fmla="*/ 50006 h 800"/>
                <a:gd name="T44" fmla="*/ 179549 w 1109"/>
                <a:gd name="T45" fmla="*/ 31750 h 800"/>
                <a:gd name="T46" fmla="*/ 176371 w 1109"/>
                <a:gd name="T47" fmla="*/ 21431 h 800"/>
                <a:gd name="T48" fmla="*/ 166043 w 1109"/>
                <a:gd name="T49" fmla="*/ 19050 h 800"/>
                <a:gd name="T50" fmla="*/ 158893 w 1109"/>
                <a:gd name="T51" fmla="*/ 0 h 800"/>
                <a:gd name="T52" fmla="*/ 155715 w 1109"/>
                <a:gd name="T53" fmla="*/ 21431 h 800"/>
                <a:gd name="T54" fmla="*/ 145387 w 1109"/>
                <a:gd name="T55" fmla="*/ 34925 h 800"/>
                <a:gd name="T56" fmla="*/ 127909 w 1109"/>
                <a:gd name="T57" fmla="*/ 25400 h 800"/>
                <a:gd name="T58" fmla="*/ 120759 w 1109"/>
                <a:gd name="T59" fmla="*/ 21431 h 800"/>
                <a:gd name="T60" fmla="*/ 127909 w 1109"/>
                <a:gd name="T61" fmla="*/ 11906 h 800"/>
                <a:gd name="T62" fmla="*/ 127909 w 1109"/>
                <a:gd name="T63" fmla="*/ 6350 h 800"/>
                <a:gd name="T64" fmla="*/ 124731 w 1109"/>
                <a:gd name="T65" fmla="*/ 6350 h 800"/>
                <a:gd name="T66" fmla="*/ 103281 w 1109"/>
                <a:gd name="T67" fmla="*/ 2381 h 800"/>
                <a:gd name="T68" fmla="*/ 103281 w 1109"/>
                <a:gd name="T69" fmla="*/ 6350 h 800"/>
                <a:gd name="T70" fmla="*/ 92953 w 1109"/>
                <a:gd name="T71" fmla="*/ 9525 h 800"/>
                <a:gd name="T72" fmla="*/ 89775 w 1109"/>
                <a:gd name="T73" fmla="*/ 11906 h 800"/>
                <a:gd name="T74" fmla="*/ 89775 w 1109"/>
                <a:gd name="T75" fmla="*/ 21431 h 800"/>
                <a:gd name="T76" fmla="*/ 82624 w 1109"/>
                <a:gd name="T77" fmla="*/ 21431 h 800"/>
                <a:gd name="T78" fmla="*/ 79447 w 1109"/>
                <a:gd name="T79" fmla="*/ 15875 h 800"/>
                <a:gd name="T80" fmla="*/ 69119 w 1109"/>
                <a:gd name="T81" fmla="*/ 19050 h 800"/>
                <a:gd name="T82" fmla="*/ 62763 w 1109"/>
                <a:gd name="T83" fmla="*/ 28575 h 800"/>
                <a:gd name="T84" fmla="*/ 55613 w 1109"/>
                <a:gd name="T85" fmla="*/ 28575 h 800"/>
                <a:gd name="T86" fmla="*/ 55613 w 1109"/>
                <a:gd name="T87" fmla="*/ 34925 h 800"/>
                <a:gd name="T88" fmla="*/ 48462 w 1109"/>
                <a:gd name="T89" fmla="*/ 34925 h 800"/>
                <a:gd name="T90" fmla="*/ 42107 w 1109"/>
                <a:gd name="T91" fmla="*/ 44450 h 800"/>
                <a:gd name="T92" fmla="*/ 7150 w 1109"/>
                <a:gd name="T93" fmla="*/ 60325 h 800"/>
                <a:gd name="T94" fmla="*/ 3972 w 1109"/>
                <a:gd name="T95" fmla="*/ 60325 h 800"/>
                <a:gd name="T96" fmla="*/ 0 w 1109"/>
                <a:gd name="T97" fmla="*/ 66675 h 800"/>
                <a:gd name="T98" fmla="*/ 3972 w 1109"/>
                <a:gd name="T99" fmla="*/ 76200 h 800"/>
                <a:gd name="T100" fmla="*/ 0 w 1109"/>
                <a:gd name="T101" fmla="*/ 79375 h 800"/>
                <a:gd name="T102" fmla="*/ 14300 w 1109"/>
                <a:gd name="T103" fmla="*/ 111125 h 800"/>
                <a:gd name="T104" fmla="*/ 11123 w 1109"/>
                <a:gd name="T105" fmla="*/ 123825 h 8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09"/>
                <a:gd name="T160" fmla="*/ 0 h 800"/>
                <a:gd name="T161" fmla="*/ 1109 w 1109"/>
                <a:gd name="T162" fmla="*/ 800 h 8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09" h="800">
                  <a:moveTo>
                    <a:pt x="54" y="639"/>
                  </a:moveTo>
                  <a:lnTo>
                    <a:pt x="54" y="639"/>
                  </a:lnTo>
                  <a:lnTo>
                    <a:pt x="105" y="671"/>
                  </a:lnTo>
                  <a:lnTo>
                    <a:pt x="140" y="671"/>
                  </a:lnTo>
                  <a:lnTo>
                    <a:pt x="192" y="623"/>
                  </a:lnTo>
                  <a:lnTo>
                    <a:pt x="278" y="623"/>
                  </a:lnTo>
                  <a:lnTo>
                    <a:pt x="295" y="608"/>
                  </a:lnTo>
                  <a:lnTo>
                    <a:pt x="365" y="575"/>
                  </a:lnTo>
                  <a:lnTo>
                    <a:pt x="503" y="560"/>
                  </a:lnTo>
                  <a:lnTo>
                    <a:pt x="574" y="591"/>
                  </a:lnTo>
                  <a:lnTo>
                    <a:pt x="574" y="608"/>
                  </a:lnTo>
                  <a:lnTo>
                    <a:pt x="591" y="608"/>
                  </a:lnTo>
                  <a:lnTo>
                    <a:pt x="626" y="671"/>
                  </a:lnTo>
                  <a:lnTo>
                    <a:pt x="677" y="591"/>
                  </a:lnTo>
                  <a:lnTo>
                    <a:pt x="677" y="623"/>
                  </a:lnTo>
                  <a:lnTo>
                    <a:pt x="660" y="671"/>
                  </a:lnTo>
                  <a:lnTo>
                    <a:pt x="677" y="671"/>
                  </a:lnTo>
                  <a:lnTo>
                    <a:pt x="677" y="639"/>
                  </a:lnTo>
                  <a:lnTo>
                    <a:pt x="695" y="671"/>
                  </a:lnTo>
                  <a:lnTo>
                    <a:pt x="677" y="687"/>
                  </a:lnTo>
                  <a:lnTo>
                    <a:pt x="712" y="687"/>
                  </a:lnTo>
                  <a:lnTo>
                    <a:pt x="729" y="719"/>
                  </a:lnTo>
                  <a:lnTo>
                    <a:pt x="729" y="735"/>
                  </a:lnTo>
                  <a:lnTo>
                    <a:pt x="747" y="752"/>
                  </a:lnTo>
                  <a:lnTo>
                    <a:pt x="781" y="767"/>
                  </a:lnTo>
                  <a:lnTo>
                    <a:pt x="816" y="767"/>
                  </a:lnTo>
                  <a:lnTo>
                    <a:pt x="833" y="783"/>
                  </a:lnTo>
                  <a:lnTo>
                    <a:pt x="868" y="752"/>
                  </a:lnTo>
                  <a:lnTo>
                    <a:pt x="868" y="767"/>
                  </a:lnTo>
                  <a:lnTo>
                    <a:pt x="885" y="767"/>
                  </a:lnTo>
                  <a:lnTo>
                    <a:pt x="885" y="783"/>
                  </a:lnTo>
                  <a:lnTo>
                    <a:pt x="919" y="800"/>
                  </a:lnTo>
                  <a:lnTo>
                    <a:pt x="954" y="752"/>
                  </a:lnTo>
                  <a:lnTo>
                    <a:pt x="1006" y="752"/>
                  </a:lnTo>
                  <a:lnTo>
                    <a:pt x="1023" y="687"/>
                  </a:lnTo>
                  <a:lnTo>
                    <a:pt x="1092" y="543"/>
                  </a:lnTo>
                  <a:lnTo>
                    <a:pt x="1109" y="479"/>
                  </a:lnTo>
                  <a:lnTo>
                    <a:pt x="1092" y="399"/>
                  </a:lnTo>
                  <a:lnTo>
                    <a:pt x="1058" y="351"/>
                  </a:lnTo>
                  <a:lnTo>
                    <a:pt x="1040" y="336"/>
                  </a:lnTo>
                  <a:lnTo>
                    <a:pt x="1023" y="303"/>
                  </a:lnTo>
                  <a:lnTo>
                    <a:pt x="1006" y="288"/>
                  </a:lnTo>
                  <a:lnTo>
                    <a:pt x="1006" y="303"/>
                  </a:lnTo>
                  <a:lnTo>
                    <a:pt x="971" y="255"/>
                  </a:lnTo>
                  <a:lnTo>
                    <a:pt x="919" y="207"/>
                  </a:lnTo>
                  <a:lnTo>
                    <a:pt x="902" y="159"/>
                  </a:lnTo>
                  <a:lnTo>
                    <a:pt x="885" y="144"/>
                  </a:lnTo>
                  <a:lnTo>
                    <a:pt x="885" y="111"/>
                  </a:lnTo>
                  <a:lnTo>
                    <a:pt x="868" y="96"/>
                  </a:lnTo>
                  <a:lnTo>
                    <a:pt x="833" y="96"/>
                  </a:lnTo>
                  <a:lnTo>
                    <a:pt x="816" y="0"/>
                  </a:lnTo>
                  <a:lnTo>
                    <a:pt x="798" y="0"/>
                  </a:lnTo>
                  <a:lnTo>
                    <a:pt x="781" y="32"/>
                  </a:lnTo>
                  <a:lnTo>
                    <a:pt x="781" y="111"/>
                  </a:lnTo>
                  <a:lnTo>
                    <a:pt x="764" y="176"/>
                  </a:lnTo>
                  <a:lnTo>
                    <a:pt x="729" y="176"/>
                  </a:lnTo>
                  <a:lnTo>
                    <a:pt x="660" y="128"/>
                  </a:lnTo>
                  <a:lnTo>
                    <a:pt x="643" y="128"/>
                  </a:lnTo>
                  <a:lnTo>
                    <a:pt x="643" y="111"/>
                  </a:lnTo>
                  <a:lnTo>
                    <a:pt x="608" y="111"/>
                  </a:lnTo>
                  <a:lnTo>
                    <a:pt x="626" y="63"/>
                  </a:lnTo>
                  <a:lnTo>
                    <a:pt x="643" y="63"/>
                  </a:lnTo>
                  <a:lnTo>
                    <a:pt x="660" y="32"/>
                  </a:lnTo>
                  <a:lnTo>
                    <a:pt x="643" y="32"/>
                  </a:lnTo>
                  <a:lnTo>
                    <a:pt x="626" y="48"/>
                  </a:lnTo>
                  <a:lnTo>
                    <a:pt x="626" y="32"/>
                  </a:lnTo>
                  <a:lnTo>
                    <a:pt x="608" y="32"/>
                  </a:lnTo>
                  <a:lnTo>
                    <a:pt x="520" y="15"/>
                  </a:lnTo>
                  <a:lnTo>
                    <a:pt x="537" y="32"/>
                  </a:lnTo>
                  <a:lnTo>
                    <a:pt x="520" y="32"/>
                  </a:lnTo>
                  <a:lnTo>
                    <a:pt x="485" y="32"/>
                  </a:lnTo>
                  <a:lnTo>
                    <a:pt x="468" y="48"/>
                  </a:lnTo>
                  <a:lnTo>
                    <a:pt x="468" y="63"/>
                  </a:lnTo>
                  <a:lnTo>
                    <a:pt x="451" y="63"/>
                  </a:lnTo>
                  <a:lnTo>
                    <a:pt x="451" y="96"/>
                  </a:lnTo>
                  <a:lnTo>
                    <a:pt x="451" y="111"/>
                  </a:lnTo>
                  <a:lnTo>
                    <a:pt x="416" y="96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99" y="80"/>
                  </a:lnTo>
                  <a:lnTo>
                    <a:pt x="382" y="80"/>
                  </a:lnTo>
                  <a:lnTo>
                    <a:pt x="347" y="96"/>
                  </a:lnTo>
                  <a:lnTo>
                    <a:pt x="330" y="96"/>
                  </a:lnTo>
                  <a:lnTo>
                    <a:pt x="313" y="144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95" y="159"/>
                  </a:lnTo>
                  <a:lnTo>
                    <a:pt x="278" y="176"/>
                  </a:lnTo>
                  <a:lnTo>
                    <a:pt x="278" y="144"/>
                  </a:lnTo>
                  <a:lnTo>
                    <a:pt x="244" y="176"/>
                  </a:lnTo>
                  <a:lnTo>
                    <a:pt x="261" y="192"/>
                  </a:lnTo>
                  <a:lnTo>
                    <a:pt x="209" y="224"/>
                  </a:lnTo>
                  <a:lnTo>
                    <a:pt x="88" y="255"/>
                  </a:lnTo>
                  <a:lnTo>
                    <a:pt x="36" y="303"/>
                  </a:lnTo>
                  <a:lnTo>
                    <a:pt x="17" y="288"/>
                  </a:lnTo>
                  <a:lnTo>
                    <a:pt x="17" y="303"/>
                  </a:lnTo>
                  <a:lnTo>
                    <a:pt x="17" y="336"/>
                  </a:lnTo>
                  <a:lnTo>
                    <a:pt x="0" y="336"/>
                  </a:lnTo>
                  <a:lnTo>
                    <a:pt x="36" y="416"/>
                  </a:lnTo>
                  <a:lnTo>
                    <a:pt x="17" y="384"/>
                  </a:lnTo>
                  <a:lnTo>
                    <a:pt x="17" y="416"/>
                  </a:lnTo>
                  <a:lnTo>
                    <a:pt x="0" y="399"/>
                  </a:lnTo>
                  <a:lnTo>
                    <a:pt x="54" y="495"/>
                  </a:lnTo>
                  <a:lnTo>
                    <a:pt x="71" y="560"/>
                  </a:lnTo>
                  <a:lnTo>
                    <a:pt x="71" y="608"/>
                  </a:lnTo>
                  <a:lnTo>
                    <a:pt x="54" y="623"/>
                  </a:lnTo>
                  <a:lnTo>
                    <a:pt x="54" y="639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5" name="Freeform 96">
              <a:extLst>
                <a:ext uri="{FF2B5EF4-FFF2-40B4-BE49-F238E27FC236}">
                  <a16:creationId xmlns:a16="http://schemas.microsoft.com/office/drawing/2014/main" id="{39AC2414-4DB3-4773-AE4D-A42882BEF861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542212" y="4872038"/>
              <a:ext cx="26988" cy="12700"/>
            </a:xfrm>
            <a:custGeom>
              <a:avLst/>
              <a:gdLst>
                <a:gd name="T0" fmla="*/ 0 w 35"/>
                <a:gd name="T1" fmla="*/ 2988 h 17"/>
                <a:gd name="T2" fmla="*/ 0 w 35"/>
                <a:gd name="T3" fmla="*/ 2988 h 17"/>
                <a:gd name="T4" fmla="*/ 3084 w 35"/>
                <a:gd name="T5" fmla="*/ 2988 h 17"/>
                <a:gd name="T6" fmla="*/ 6169 w 35"/>
                <a:gd name="T7" fmla="*/ 0 h 17"/>
                <a:gd name="T8" fmla="*/ 0 w 35"/>
                <a:gd name="T9" fmla="*/ 0 h 17"/>
                <a:gd name="T10" fmla="*/ 0 w 35"/>
                <a:gd name="T11" fmla="*/ 2988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7"/>
                <a:gd name="T20" fmla="*/ 35 w 3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7">
                  <a:moveTo>
                    <a:pt x="0" y="17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6" name="Freeform 97">
              <a:extLst>
                <a:ext uri="{FF2B5EF4-FFF2-40B4-BE49-F238E27FC236}">
                  <a16:creationId xmlns:a16="http://schemas.microsoft.com/office/drawing/2014/main" id="{7154F0DD-527B-4C26-B727-CA04DBC7DFBE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680324" y="5403851"/>
              <a:ext cx="26988" cy="14288"/>
            </a:xfrm>
            <a:custGeom>
              <a:avLst/>
              <a:gdLst>
                <a:gd name="T0" fmla="*/ 0 w 33"/>
                <a:gd name="T1" fmla="*/ 0 h 17"/>
                <a:gd name="T2" fmla="*/ 0 w 33"/>
                <a:gd name="T3" fmla="*/ 0 h 17"/>
                <a:gd name="T4" fmla="*/ 7360 w 33"/>
                <a:gd name="T5" fmla="*/ 4202 h 17"/>
                <a:gd name="T6" fmla="*/ 7360 w 33"/>
                <a:gd name="T7" fmla="*/ 0 h 17"/>
                <a:gd name="T8" fmla="*/ 4089 w 33"/>
                <a:gd name="T9" fmla="*/ 0 h 17"/>
                <a:gd name="T10" fmla="*/ 0 w 3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0"/>
                  </a:moveTo>
                  <a:lnTo>
                    <a:pt x="0" y="0"/>
                  </a:lnTo>
                  <a:lnTo>
                    <a:pt x="33" y="17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7" name="Freeform 98">
              <a:extLst>
                <a:ext uri="{FF2B5EF4-FFF2-40B4-BE49-F238E27FC236}">
                  <a16:creationId xmlns:a16="http://schemas.microsoft.com/office/drawing/2014/main" id="{DFF7AD8F-306C-49D3-9DDB-1E3210D9698C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856537" y="5532438"/>
              <a:ext cx="84138" cy="76200"/>
            </a:xfrm>
            <a:custGeom>
              <a:avLst/>
              <a:gdLst>
                <a:gd name="T0" fmla="*/ 0 w 105"/>
                <a:gd name="T1" fmla="*/ 0 h 96"/>
                <a:gd name="T2" fmla="*/ 0 w 105"/>
                <a:gd name="T3" fmla="*/ 0 h 96"/>
                <a:gd name="T4" fmla="*/ 4007 w 105"/>
                <a:gd name="T5" fmla="*/ 15875 h 96"/>
                <a:gd name="T6" fmla="*/ 11218 w 105"/>
                <a:gd name="T7" fmla="*/ 19050 h 96"/>
                <a:gd name="T8" fmla="*/ 14424 w 105"/>
                <a:gd name="T9" fmla="*/ 11906 h 96"/>
                <a:gd name="T10" fmla="*/ 17629 w 105"/>
                <a:gd name="T11" fmla="*/ 15875 h 96"/>
                <a:gd name="T12" fmla="*/ 21635 w 105"/>
                <a:gd name="T13" fmla="*/ 0 h 96"/>
                <a:gd name="T14" fmla="*/ 17629 w 105"/>
                <a:gd name="T15" fmla="*/ 0 h 96"/>
                <a:gd name="T16" fmla="*/ 7212 w 105"/>
                <a:gd name="T17" fmla="*/ 2381 h 96"/>
                <a:gd name="T18" fmla="*/ 0 w 105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5"/>
                <a:gd name="T31" fmla="*/ 0 h 96"/>
                <a:gd name="T32" fmla="*/ 105 w 105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5" h="96">
                  <a:moveTo>
                    <a:pt x="0" y="0"/>
                  </a:moveTo>
                  <a:lnTo>
                    <a:pt x="0" y="0"/>
                  </a:lnTo>
                  <a:lnTo>
                    <a:pt x="19" y="79"/>
                  </a:lnTo>
                  <a:lnTo>
                    <a:pt x="53" y="96"/>
                  </a:lnTo>
                  <a:lnTo>
                    <a:pt x="71" y="63"/>
                  </a:lnTo>
                  <a:lnTo>
                    <a:pt x="88" y="79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36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8" name="Freeform 99">
              <a:extLst>
                <a:ext uri="{FF2B5EF4-FFF2-40B4-BE49-F238E27FC236}">
                  <a16:creationId xmlns:a16="http://schemas.microsoft.com/office/drawing/2014/main" id="{18F5AF95-289D-4E9F-AB6A-527BFCEEA530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461374" y="5380038"/>
              <a:ext cx="125413" cy="176213"/>
            </a:xfrm>
            <a:custGeom>
              <a:avLst/>
              <a:gdLst>
                <a:gd name="T0" fmla="*/ 7189 w 157"/>
                <a:gd name="T1" fmla="*/ 28447 h 223"/>
                <a:gd name="T2" fmla="*/ 7189 w 157"/>
                <a:gd name="T3" fmla="*/ 28447 h 223"/>
                <a:gd name="T4" fmla="*/ 14379 w 157"/>
                <a:gd name="T5" fmla="*/ 30818 h 223"/>
                <a:gd name="T6" fmla="*/ 10385 w 157"/>
                <a:gd name="T7" fmla="*/ 40300 h 223"/>
                <a:gd name="T8" fmla="*/ 14379 w 157"/>
                <a:gd name="T9" fmla="*/ 43461 h 223"/>
                <a:gd name="T10" fmla="*/ 17574 w 157"/>
                <a:gd name="T11" fmla="*/ 40300 h 223"/>
                <a:gd name="T12" fmla="*/ 24763 w 157"/>
                <a:gd name="T13" fmla="*/ 28447 h 223"/>
                <a:gd name="T14" fmla="*/ 27958 w 157"/>
                <a:gd name="T15" fmla="*/ 28447 h 223"/>
                <a:gd name="T16" fmla="*/ 31952 w 157"/>
                <a:gd name="T17" fmla="*/ 24496 h 223"/>
                <a:gd name="T18" fmla="*/ 31952 w 157"/>
                <a:gd name="T19" fmla="*/ 18965 h 223"/>
                <a:gd name="T20" fmla="*/ 27958 w 157"/>
                <a:gd name="T21" fmla="*/ 15014 h 223"/>
                <a:gd name="T22" fmla="*/ 24763 w 157"/>
                <a:gd name="T23" fmla="*/ 18965 h 223"/>
                <a:gd name="T24" fmla="*/ 17574 w 157"/>
                <a:gd name="T25" fmla="*/ 18965 h 223"/>
                <a:gd name="T26" fmla="*/ 17574 w 157"/>
                <a:gd name="T27" fmla="*/ 11853 h 223"/>
                <a:gd name="T28" fmla="*/ 14379 w 157"/>
                <a:gd name="T29" fmla="*/ 11853 h 223"/>
                <a:gd name="T30" fmla="*/ 14379 w 157"/>
                <a:gd name="T31" fmla="*/ 15014 h 223"/>
                <a:gd name="T32" fmla="*/ 10385 w 157"/>
                <a:gd name="T33" fmla="*/ 11853 h 223"/>
                <a:gd name="T34" fmla="*/ 10385 w 157"/>
                <a:gd name="T35" fmla="*/ 2371 h 223"/>
                <a:gd name="T36" fmla="*/ 0 w 157"/>
                <a:gd name="T37" fmla="*/ 0 h 223"/>
                <a:gd name="T38" fmla="*/ 10385 w 157"/>
                <a:gd name="T39" fmla="*/ 11853 h 223"/>
                <a:gd name="T40" fmla="*/ 10385 w 157"/>
                <a:gd name="T41" fmla="*/ 24496 h 223"/>
                <a:gd name="T42" fmla="*/ 7189 w 157"/>
                <a:gd name="T43" fmla="*/ 28447 h 2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7"/>
                <a:gd name="T67" fmla="*/ 0 h 223"/>
                <a:gd name="T68" fmla="*/ 157 w 157"/>
                <a:gd name="T69" fmla="*/ 223 h 2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7" h="223">
                  <a:moveTo>
                    <a:pt x="34" y="144"/>
                  </a:moveTo>
                  <a:lnTo>
                    <a:pt x="34" y="144"/>
                  </a:lnTo>
                  <a:lnTo>
                    <a:pt x="69" y="159"/>
                  </a:lnTo>
                  <a:lnTo>
                    <a:pt x="52" y="207"/>
                  </a:lnTo>
                  <a:lnTo>
                    <a:pt x="69" y="223"/>
                  </a:lnTo>
                  <a:lnTo>
                    <a:pt x="86" y="207"/>
                  </a:lnTo>
                  <a:lnTo>
                    <a:pt x="121" y="144"/>
                  </a:lnTo>
                  <a:lnTo>
                    <a:pt x="140" y="144"/>
                  </a:lnTo>
                  <a:lnTo>
                    <a:pt x="157" y="127"/>
                  </a:lnTo>
                  <a:lnTo>
                    <a:pt x="157" y="96"/>
                  </a:lnTo>
                  <a:lnTo>
                    <a:pt x="140" y="79"/>
                  </a:lnTo>
                  <a:lnTo>
                    <a:pt x="121" y="96"/>
                  </a:lnTo>
                  <a:lnTo>
                    <a:pt x="86" y="96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69" y="79"/>
                  </a:lnTo>
                  <a:lnTo>
                    <a:pt x="52" y="63"/>
                  </a:lnTo>
                  <a:lnTo>
                    <a:pt x="52" y="15"/>
                  </a:lnTo>
                  <a:lnTo>
                    <a:pt x="0" y="0"/>
                  </a:lnTo>
                  <a:lnTo>
                    <a:pt x="52" y="63"/>
                  </a:lnTo>
                  <a:lnTo>
                    <a:pt x="52" y="127"/>
                  </a:lnTo>
                  <a:lnTo>
                    <a:pt x="34" y="14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39" name="Freeform 100">
              <a:extLst>
                <a:ext uri="{FF2B5EF4-FFF2-40B4-BE49-F238E27FC236}">
                  <a16:creationId xmlns:a16="http://schemas.microsoft.com/office/drawing/2014/main" id="{328353C2-D8C5-4833-8DAA-679E6AE4A36D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324849" y="5532438"/>
              <a:ext cx="177800" cy="165100"/>
            </a:xfrm>
            <a:custGeom>
              <a:avLst/>
              <a:gdLst>
                <a:gd name="T0" fmla="*/ 0 w 223"/>
                <a:gd name="T1" fmla="*/ 35094 h 207"/>
                <a:gd name="T2" fmla="*/ 0 w 223"/>
                <a:gd name="T3" fmla="*/ 35094 h 207"/>
                <a:gd name="T4" fmla="*/ 3987 w 223"/>
                <a:gd name="T5" fmla="*/ 38284 h 207"/>
                <a:gd name="T6" fmla="*/ 7176 w 223"/>
                <a:gd name="T7" fmla="*/ 38284 h 207"/>
                <a:gd name="T8" fmla="*/ 14352 w 223"/>
                <a:gd name="T9" fmla="*/ 41474 h 207"/>
                <a:gd name="T10" fmla="*/ 20730 w 223"/>
                <a:gd name="T11" fmla="*/ 38284 h 207"/>
                <a:gd name="T12" fmla="*/ 24717 w 223"/>
                <a:gd name="T13" fmla="*/ 31903 h 207"/>
                <a:gd name="T14" fmla="*/ 27906 w 223"/>
                <a:gd name="T15" fmla="*/ 25523 h 207"/>
                <a:gd name="T16" fmla="*/ 34284 w 223"/>
                <a:gd name="T17" fmla="*/ 19142 h 207"/>
                <a:gd name="T18" fmla="*/ 37474 w 223"/>
                <a:gd name="T19" fmla="*/ 19142 h 207"/>
                <a:gd name="T20" fmla="*/ 34284 w 223"/>
                <a:gd name="T21" fmla="*/ 15952 h 207"/>
                <a:gd name="T22" fmla="*/ 44649 w 223"/>
                <a:gd name="T23" fmla="*/ 6381 h 207"/>
                <a:gd name="T24" fmla="*/ 44649 w 223"/>
                <a:gd name="T25" fmla="*/ 3190 h 207"/>
                <a:gd name="T26" fmla="*/ 41460 w 223"/>
                <a:gd name="T27" fmla="*/ 3190 h 207"/>
                <a:gd name="T28" fmla="*/ 41460 w 223"/>
                <a:gd name="T29" fmla="*/ 0 h 207"/>
                <a:gd name="T30" fmla="*/ 37474 w 223"/>
                <a:gd name="T31" fmla="*/ 3190 h 207"/>
                <a:gd name="T32" fmla="*/ 37474 w 223"/>
                <a:gd name="T33" fmla="*/ 0 h 207"/>
                <a:gd name="T34" fmla="*/ 34284 w 223"/>
                <a:gd name="T35" fmla="*/ 0 h 207"/>
                <a:gd name="T36" fmla="*/ 31095 w 223"/>
                <a:gd name="T37" fmla="*/ 0 h 207"/>
                <a:gd name="T38" fmla="*/ 31095 w 223"/>
                <a:gd name="T39" fmla="*/ 6381 h 207"/>
                <a:gd name="T40" fmla="*/ 27906 w 223"/>
                <a:gd name="T41" fmla="*/ 6381 h 207"/>
                <a:gd name="T42" fmla="*/ 24717 w 223"/>
                <a:gd name="T43" fmla="*/ 12761 h 207"/>
                <a:gd name="T44" fmla="*/ 10365 w 223"/>
                <a:gd name="T45" fmla="*/ 22332 h 207"/>
                <a:gd name="T46" fmla="*/ 0 w 223"/>
                <a:gd name="T47" fmla="*/ 35094 h 20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3"/>
                <a:gd name="T73" fmla="*/ 0 h 207"/>
                <a:gd name="T74" fmla="*/ 223 w 223"/>
                <a:gd name="T75" fmla="*/ 207 h 20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3" h="207">
                  <a:moveTo>
                    <a:pt x="0" y="174"/>
                  </a:moveTo>
                  <a:lnTo>
                    <a:pt x="0" y="174"/>
                  </a:lnTo>
                  <a:lnTo>
                    <a:pt x="17" y="192"/>
                  </a:lnTo>
                  <a:lnTo>
                    <a:pt x="34" y="192"/>
                  </a:lnTo>
                  <a:lnTo>
                    <a:pt x="69" y="207"/>
                  </a:lnTo>
                  <a:lnTo>
                    <a:pt x="104" y="192"/>
                  </a:lnTo>
                  <a:lnTo>
                    <a:pt x="121" y="159"/>
                  </a:lnTo>
                  <a:lnTo>
                    <a:pt x="138" y="127"/>
                  </a:lnTo>
                  <a:lnTo>
                    <a:pt x="171" y="96"/>
                  </a:lnTo>
                  <a:lnTo>
                    <a:pt x="188" y="96"/>
                  </a:lnTo>
                  <a:lnTo>
                    <a:pt x="171" y="79"/>
                  </a:lnTo>
                  <a:lnTo>
                    <a:pt x="223" y="31"/>
                  </a:lnTo>
                  <a:lnTo>
                    <a:pt x="223" y="15"/>
                  </a:lnTo>
                  <a:lnTo>
                    <a:pt x="205" y="15"/>
                  </a:lnTo>
                  <a:lnTo>
                    <a:pt x="205" y="0"/>
                  </a:lnTo>
                  <a:lnTo>
                    <a:pt x="188" y="15"/>
                  </a:lnTo>
                  <a:lnTo>
                    <a:pt x="188" y="0"/>
                  </a:lnTo>
                  <a:lnTo>
                    <a:pt x="171" y="0"/>
                  </a:lnTo>
                  <a:lnTo>
                    <a:pt x="153" y="0"/>
                  </a:lnTo>
                  <a:lnTo>
                    <a:pt x="153" y="31"/>
                  </a:lnTo>
                  <a:lnTo>
                    <a:pt x="138" y="31"/>
                  </a:lnTo>
                  <a:lnTo>
                    <a:pt x="121" y="63"/>
                  </a:lnTo>
                  <a:lnTo>
                    <a:pt x="52" y="111"/>
                  </a:lnTo>
                  <a:lnTo>
                    <a:pt x="0" y="17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0" name="Freeform 101">
              <a:extLst>
                <a:ext uri="{FF2B5EF4-FFF2-40B4-BE49-F238E27FC236}">
                  <a16:creationId xmlns:a16="http://schemas.microsoft.com/office/drawing/2014/main" id="{B9E10267-2070-4607-818C-138D7E3C4468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351837" y="5697538"/>
              <a:ext cx="14288" cy="11113"/>
            </a:xfrm>
            <a:custGeom>
              <a:avLst/>
              <a:gdLst>
                <a:gd name="T0" fmla="*/ 0 w 19"/>
                <a:gd name="T1" fmla="*/ 2223 h 15"/>
                <a:gd name="T2" fmla="*/ 0 w 19"/>
                <a:gd name="T3" fmla="*/ 2223 h 15"/>
                <a:gd name="T4" fmla="*/ 3008 w 19"/>
                <a:gd name="T5" fmla="*/ 2223 h 15"/>
                <a:gd name="T6" fmla="*/ 3008 w 19"/>
                <a:gd name="T7" fmla="*/ 0 h 15"/>
                <a:gd name="T8" fmla="*/ 0 w 19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5"/>
                <a:gd name="T17" fmla="*/ 19 w 19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5">
                  <a:moveTo>
                    <a:pt x="0" y="15"/>
                  </a:move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1" name="Freeform 102">
              <a:extLst>
                <a:ext uri="{FF2B5EF4-FFF2-40B4-BE49-F238E27FC236}">
                  <a16:creationId xmlns:a16="http://schemas.microsoft.com/office/drawing/2014/main" id="{380ABA0B-86D1-4B5F-A8B7-B0CACD0B1FAD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238999" y="4808538"/>
              <a:ext cx="165100" cy="12700"/>
            </a:xfrm>
            <a:custGeom>
              <a:avLst/>
              <a:gdLst>
                <a:gd name="T0" fmla="*/ 0 w 208"/>
                <a:gd name="T1" fmla="*/ 3175 h 16"/>
                <a:gd name="T2" fmla="*/ 0 w 208"/>
                <a:gd name="T3" fmla="*/ 3175 h 16"/>
                <a:gd name="T4" fmla="*/ 3969 w 208"/>
                <a:gd name="T5" fmla="*/ 3175 h 16"/>
                <a:gd name="T6" fmla="*/ 17463 w 208"/>
                <a:gd name="T7" fmla="*/ 0 h 16"/>
                <a:gd name="T8" fmla="*/ 30956 w 208"/>
                <a:gd name="T9" fmla="*/ 3175 h 16"/>
                <a:gd name="T10" fmla="*/ 41275 w 208"/>
                <a:gd name="T11" fmla="*/ 0 h 16"/>
                <a:gd name="T12" fmla="*/ 34925 w 208"/>
                <a:gd name="T13" fmla="*/ 0 h 16"/>
                <a:gd name="T14" fmla="*/ 23812 w 208"/>
                <a:gd name="T15" fmla="*/ 0 h 16"/>
                <a:gd name="T16" fmla="*/ 17463 w 208"/>
                <a:gd name="T17" fmla="*/ 0 h 16"/>
                <a:gd name="T18" fmla="*/ 7144 w 208"/>
                <a:gd name="T19" fmla="*/ 0 h 16"/>
                <a:gd name="T20" fmla="*/ 10319 w 208"/>
                <a:gd name="T21" fmla="*/ 0 h 16"/>
                <a:gd name="T22" fmla="*/ 0 w 208"/>
                <a:gd name="T23" fmla="*/ 0 h 16"/>
                <a:gd name="T24" fmla="*/ 0 w 208"/>
                <a:gd name="T25" fmla="*/ 3175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8"/>
                <a:gd name="T40" fmla="*/ 0 h 16"/>
                <a:gd name="T41" fmla="*/ 208 w 208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8" h="16">
                  <a:moveTo>
                    <a:pt x="0" y="16"/>
                  </a:moveTo>
                  <a:lnTo>
                    <a:pt x="0" y="16"/>
                  </a:lnTo>
                  <a:lnTo>
                    <a:pt x="17" y="16"/>
                  </a:lnTo>
                  <a:lnTo>
                    <a:pt x="87" y="0"/>
                  </a:lnTo>
                  <a:lnTo>
                    <a:pt x="156" y="16"/>
                  </a:lnTo>
                  <a:lnTo>
                    <a:pt x="208" y="0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87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2" name="Freeform 103">
              <a:extLst>
                <a:ext uri="{FF2B5EF4-FFF2-40B4-BE49-F238E27FC236}">
                  <a16:creationId xmlns:a16="http://schemas.microsoft.com/office/drawing/2014/main" id="{2F35EE16-0B92-447F-B2F4-54072CFC62A1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296149" y="4833938"/>
              <a:ext cx="41275" cy="12700"/>
            </a:xfrm>
            <a:custGeom>
              <a:avLst/>
              <a:gdLst>
                <a:gd name="T0" fmla="*/ 0 w 52"/>
                <a:gd name="T1" fmla="*/ 0 h 17"/>
                <a:gd name="T2" fmla="*/ 0 w 52"/>
                <a:gd name="T3" fmla="*/ 0 h 17"/>
                <a:gd name="T4" fmla="*/ 7144 w 52"/>
                <a:gd name="T5" fmla="*/ 2988 h 17"/>
                <a:gd name="T6" fmla="*/ 10319 w 52"/>
                <a:gd name="T7" fmla="*/ 2988 h 17"/>
                <a:gd name="T8" fmla="*/ 7144 w 52"/>
                <a:gd name="T9" fmla="*/ 0 h 17"/>
                <a:gd name="T10" fmla="*/ 0 w 52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7"/>
                <a:gd name="T20" fmla="*/ 52 w 52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7">
                  <a:moveTo>
                    <a:pt x="0" y="0"/>
                  </a:moveTo>
                  <a:lnTo>
                    <a:pt x="0" y="0"/>
                  </a:lnTo>
                  <a:lnTo>
                    <a:pt x="35" y="17"/>
                  </a:lnTo>
                  <a:lnTo>
                    <a:pt x="52" y="17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3" name="Freeform 104">
              <a:extLst>
                <a:ext uri="{FF2B5EF4-FFF2-40B4-BE49-F238E27FC236}">
                  <a16:creationId xmlns:a16="http://schemas.microsoft.com/office/drawing/2014/main" id="{A2DF7D96-3F08-412F-BDFA-AFBA8E871371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391399" y="4808538"/>
              <a:ext cx="82550" cy="38100"/>
            </a:xfrm>
            <a:custGeom>
              <a:avLst/>
              <a:gdLst>
                <a:gd name="T0" fmla="*/ 0 w 104"/>
                <a:gd name="T1" fmla="*/ 9525 h 48"/>
                <a:gd name="T2" fmla="*/ 0 w 104"/>
                <a:gd name="T3" fmla="*/ 9525 h 48"/>
                <a:gd name="T4" fmla="*/ 7144 w 104"/>
                <a:gd name="T5" fmla="*/ 9525 h 48"/>
                <a:gd name="T6" fmla="*/ 20638 w 104"/>
                <a:gd name="T7" fmla="*/ 0 h 48"/>
                <a:gd name="T8" fmla="*/ 10319 w 104"/>
                <a:gd name="T9" fmla="*/ 0 h 48"/>
                <a:gd name="T10" fmla="*/ 3969 w 104"/>
                <a:gd name="T11" fmla="*/ 5556 h 48"/>
                <a:gd name="T12" fmla="*/ 0 w 104"/>
                <a:gd name="T13" fmla="*/ 9525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48"/>
                <a:gd name="T23" fmla="*/ 104 w 104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48">
                  <a:moveTo>
                    <a:pt x="0" y="48"/>
                  </a:moveTo>
                  <a:lnTo>
                    <a:pt x="0" y="48"/>
                  </a:lnTo>
                  <a:lnTo>
                    <a:pt x="35" y="48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17" y="31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4" name="Freeform 105">
              <a:extLst>
                <a:ext uri="{FF2B5EF4-FFF2-40B4-BE49-F238E27FC236}">
                  <a16:creationId xmlns:a16="http://schemas.microsoft.com/office/drawing/2014/main" id="{6BC41011-4C11-4A0D-92B3-9BCF76E27ECE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24762" y="4745038"/>
              <a:ext cx="15875" cy="38100"/>
            </a:xfrm>
            <a:custGeom>
              <a:avLst/>
              <a:gdLst>
                <a:gd name="T0" fmla="*/ 0 w 19"/>
                <a:gd name="T1" fmla="*/ 9525 h 48"/>
                <a:gd name="T2" fmla="*/ 0 w 19"/>
                <a:gd name="T3" fmla="*/ 9525 h 48"/>
                <a:gd name="T4" fmla="*/ 4178 w 19"/>
                <a:gd name="T5" fmla="*/ 2381 h 48"/>
                <a:gd name="T6" fmla="*/ 4178 w 19"/>
                <a:gd name="T7" fmla="*/ 0 h 48"/>
                <a:gd name="T8" fmla="*/ 0 w 19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48"/>
                <a:gd name="T17" fmla="*/ 19 w 19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48">
                  <a:moveTo>
                    <a:pt x="0" y="48"/>
                  </a:moveTo>
                  <a:lnTo>
                    <a:pt x="0" y="48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5" name="Freeform 106">
              <a:extLst>
                <a:ext uri="{FF2B5EF4-FFF2-40B4-BE49-F238E27FC236}">
                  <a16:creationId xmlns:a16="http://schemas.microsoft.com/office/drawing/2014/main" id="{16D769D4-EB88-435B-AE46-886652688581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296149" y="4605338"/>
              <a:ext cx="136525" cy="152400"/>
            </a:xfrm>
            <a:custGeom>
              <a:avLst/>
              <a:gdLst>
                <a:gd name="T0" fmla="*/ 0 w 173"/>
                <a:gd name="T1" fmla="*/ 22225 h 192"/>
                <a:gd name="T2" fmla="*/ 0 w 173"/>
                <a:gd name="T3" fmla="*/ 22225 h 192"/>
                <a:gd name="T4" fmla="*/ 0 w 173"/>
                <a:gd name="T5" fmla="*/ 26194 h 192"/>
                <a:gd name="T6" fmla="*/ 3157 w 173"/>
                <a:gd name="T7" fmla="*/ 26194 h 192"/>
                <a:gd name="T8" fmla="*/ 3157 w 173"/>
                <a:gd name="T9" fmla="*/ 28575 h 192"/>
                <a:gd name="T10" fmla="*/ 3157 w 173"/>
                <a:gd name="T11" fmla="*/ 38100 h 192"/>
                <a:gd name="T12" fmla="*/ 6313 w 173"/>
                <a:gd name="T13" fmla="*/ 35719 h 192"/>
                <a:gd name="T14" fmla="*/ 6313 w 173"/>
                <a:gd name="T15" fmla="*/ 26194 h 192"/>
                <a:gd name="T16" fmla="*/ 10259 w 173"/>
                <a:gd name="T17" fmla="*/ 22225 h 192"/>
                <a:gd name="T18" fmla="*/ 13416 w 173"/>
                <a:gd name="T19" fmla="*/ 22225 h 192"/>
                <a:gd name="T20" fmla="*/ 10259 w 173"/>
                <a:gd name="T21" fmla="*/ 26194 h 192"/>
                <a:gd name="T22" fmla="*/ 13416 w 173"/>
                <a:gd name="T23" fmla="*/ 28575 h 192"/>
                <a:gd name="T24" fmla="*/ 13416 w 173"/>
                <a:gd name="T25" fmla="*/ 32544 h 192"/>
                <a:gd name="T26" fmla="*/ 20518 w 173"/>
                <a:gd name="T27" fmla="*/ 32544 h 192"/>
                <a:gd name="T28" fmla="*/ 20518 w 173"/>
                <a:gd name="T29" fmla="*/ 38100 h 192"/>
                <a:gd name="T30" fmla="*/ 23675 w 173"/>
                <a:gd name="T31" fmla="*/ 35719 h 192"/>
                <a:gd name="T32" fmla="*/ 23675 w 173"/>
                <a:gd name="T33" fmla="*/ 32544 h 192"/>
                <a:gd name="T34" fmla="*/ 16572 w 173"/>
                <a:gd name="T35" fmla="*/ 26194 h 192"/>
                <a:gd name="T36" fmla="*/ 20518 w 173"/>
                <a:gd name="T37" fmla="*/ 26194 h 192"/>
                <a:gd name="T38" fmla="*/ 13416 w 173"/>
                <a:gd name="T39" fmla="*/ 19050 h 192"/>
                <a:gd name="T40" fmla="*/ 20518 w 173"/>
                <a:gd name="T41" fmla="*/ 13494 h 192"/>
                <a:gd name="T42" fmla="*/ 23675 w 173"/>
                <a:gd name="T43" fmla="*/ 13494 h 192"/>
                <a:gd name="T44" fmla="*/ 10259 w 173"/>
                <a:gd name="T45" fmla="*/ 16669 h 192"/>
                <a:gd name="T46" fmla="*/ 6313 w 173"/>
                <a:gd name="T47" fmla="*/ 13494 h 192"/>
                <a:gd name="T48" fmla="*/ 6313 w 173"/>
                <a:gd name="T49" fmla="*/ 9525 h 192"/>
                <a:gd name="T50" fmla="*/ 10259 w 173"/>
                <a:gd name="T51" fmla="*/ 7144 h 192"/>
                <a:gd name="T52" fmla="*/ 30777 w 173"/>
                <a:gd name="T53" fmla="*/ 7144 h 192"/>
                <a:gd name="T54" fmla="*/ 33934 w 173"/>
                <a:gd name="T55" fmla="*/ 0 h 192"/>
                <a:gd name="T56" fmla="*/ 26832 w 173"/>
                <a:gd name="T57" fmla="*/ 3969 h 192"/>
                <a:gd name="T58" fmla="*/ 20518 w 173"/>
                <a:gd name="T59" fmla="*/ 7144 h 192"/>
                <a:gd name="T60" fmla="*/ 10259 w 173"/>
                <a:gd name="T61" fmla="*/ 3969 h 192"/>
                <a:gd name="T62" fmla="*/ 10259 w 173"/>
                <a:gd name="T63" fmla="*/ 7144 h 192"/>
                <a:gd name="T64" fmla="*/ 6313 w 173"/>
                <a:gd name="T65" fmla="*/ 7144 h 192"/>
                <a:gd name="T66" fmla="*/ 6313 w 173"/>
                <a:gd name="T67" fmla="*/ 13494 h 192"/>
                <a:gd name="T68" fmla="*/ 0 w 173"/>
                <a:gd name="T69" fmla="*/ 22225 h 1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192"/>
                <a:gd name="T107" fmla="*/ 173 w 173"/>
                <a:gd name="T108" fmla="*/ 192 h 19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192">
                  <a:moveTo>
                    <a:pt x="0" y="113"/>
                  </a:moveTo>
                  <a:lnTo>
                    <a:pt x="0" y="113"/>
                  </a:lnTo>
                  <a:lnTo>
                    <a:pt x="0" y="129"/>
                  </a:lnTo>
                  <a:lnTo>
                    <a:pt x="17" y="129"/>
                  </a:lnTo>
                  <a:lnTo>
                    <a:pt x="17" y="144"/>
                  </a:lnTo>
                  <a:lnTo>
                    <a:pt x="17" y="192"/>
                  </a:lnTo>
                  <a:lnTo>
                    <a:pt x="35" y="177"/>
                  </a:lnTo>
                  <a:lnTo>
                    <a:pt x="35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129"/>
                  </a:lnTo>
                  <a:lnTo>
                    <a:pt x="69" y="144"/>
                  </a:lnTo>
                  <a:lnTo>
                    <a:pt x="69" y="161"/>
                  </a:lnTo>
                  <a:lnTo>
                    <a:pt x="104" y="161"/>
                  </a:lnTo>
                  <a:lnTo>
                    <a:pt x="104" y="192"/>
                  </a:lnTo>
                  <a:lnTo>
                    <a:pt x="121" y="177"/>
                  </a:lnTo>
                  <a:lnTo>
                    <a:pt x="121" y="161"/>
                  </a:lnTo>
                  <a:lnTo>
                    <a:pt x="87" y="129"/>
                  </a:lnTo>
                  <a:lnTo>
                    <a:pt x="104" y="129"/>
                  </a:lnTo>
                  <a:lnTo>
                    <a:pt x="69" y="96"/>
                  </a:lnTo>
                  <a:lnTo>
                    <a:pt x="104" y="66"/>
                  </a:lnTo>
                  <a:lnTo>
                    <a:pt x="121" y="66"/>
                  </a:lnTo>
                  <a:lnTo>
                    <a:pt x="52" y="81"/>
                  </a:lnTo>
                  <a:lnTo>
                    <a:pt x="35" y="66"/>
                  </a:lnTo>
                  <a:lnTo>
                    <a:pt x="35" y="48"/>
                  </a:lnTo>
                  <a:lnTo>
                    <a:pt x="52" y="33"/>
                  </a:lnTo>
                  <a:lnTo>
                    <a:pt x="156" y="33"/>
                  </a:lnTo>
                  <a:lnTo>
                    <a:pt x="173" y="0"/>
                  </a:lnTo>
                  <a:lnTo>
                    <a:pt x="138" y="18"/>
                  </a:lnTo>
                  <a:lnTo>
                    <a:pt x="104" y="33"/>
                  </a:lnTo>
                  <a:lnTo>
                    <a:pt x="52" y="18"/>
                  </a:lnTo>
                  <a:lnTo>
                    <a:pt x="52" y="33"/>
                  </a:lnTo>
                  <a:lnTo>
                    <a:pt x="35" y="33"/>
                  </a:lnTo>
                  <a:lnTo>
                    <a:pt x="35" y="66"/>
                  </a:lnTo>
                  <a:lnTo>
                    <a:pt x="0" y="11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6" name="Freeform 107">
              <a:extLst>
                <a:ext uri="{FF2B5EF4-FFF2-40B4-BE49-F238E27FC236}">
                  <a16:creationId xmlns:a16="http://schemas.microsoft.com/office/drawing/2014/main" id="{D7D0FD74-B90D-452B-A209-B92A7B9F55A2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473949" y="4592638"/>
              <a:ext cx="26988" cy="63500"/>
            </a:xfrm>
            <a:custGeom>
              <a:avLst/>
              <a:gdLst>
                <a:gd name="T0" fmla="*/ 0 w 34"/>
                <a:gd name="T1" fmla="*/ 6272 h 81"/>
                <a:gd name="T2" fmla="*/ 0 w 34"/>
                <a:gd name="T3" fmla="*/ 6272 h 81"/>
                <a:gd name="T4" fmla="*/ 3175 w 34"/>
                <a:gd name="T5" fmla="*/ 11759 h 81"/>
                <a:gd name="T6" fmla="*/ 7144 w 34"/>
                <a:gd name="T7" fmla="*/ 15679 h 81"/>
                <a:gd name="T8" fmla="*/ 3175 w 34"/>
                <a:gd name="T9" fmla="*/ 11759 h 81"/>
                <a:gd name="T10" fmla="*/ 3175 w 34"/>
                <a:gd name="T11" fmla="*/ 9407 h 81"/>
                <a:gd name="T12" fmla="*/ 7144 w 34"/>
                <a:gd name="T13" fmla="*/ 9407 h 81"/>
                <a:gd name="T14" fmla="*/ 7144 w 34"/>
                <a:gd name="T15" fmla="*/ 6272 h 81"/>
                <a:gd name="T16" fmla="*/ 7144 w 34"/>
                <a:gd name="T17" fmla="*/ 2352 h 81"/>
                <a:gd name="T18" fmla="*/ 7144 w 34"/>
                <a:gd name="T19" fmla="*/ 6272 h 81"/>
                <a:gd name="T20" fmla="*/ 3175 w 34"/>
                <a:gd name="T21" fmla="*/ 0 h 81"/>
                <a:gd name="T22" fmla="*/ 0 w 34"/>
                <a:gd name="T23" fmla="*/ 6272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81"/>
                <a:gd name="T38" fmla="*/ 34 w 34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81">
                  <a:moveTo>
                    <a:pt x="0" y="33"/>
                  </a:moveTo>
                  <a:lnTo>
                    <a:pt x="0" y="33"/>
                  </a:lnTo>
                  <a:lnTo>
                    <a:pt x="17" y="63"/>
                  </a:lnTo>
                  <a:lnTo>
                    <a:pt x="34" y="81"/>
                  </a:lnTo>
                  <a:lnTo>
                    <a:pt x="17" y="63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34" y="33"/>
                  </a:lnTo>
                  <a:lnTo>
                    <a:pt x="34" y="15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7" name="Freeform 108">
              <a:extLst>
                <a:ext uri="{FF2B5EF4-FFF2-40B4-BE49-F238E27FC236}">
                  <a16:creationId xmlns:a16="http://schemas.microsoft.com/office/drawing/2014/main" id="{7B5FFD82-437E-4E1A-84E1-7C4C7147669D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446962" y="4706938"/>
              <a:ext cx="26988" cy="12700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6169 w 35"/>
                <a:gd name="T5" fmla="*/ 3387 h 15"/>
                <a:gd name="T6" fmla="*/ 6169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8" name="Freeform 109">
              <a:extLst>
                <a:ext uri="{FF2B5EF4-FFF2-40B4-BE49-F238E27FC236}">
                  <a16:creationId xmlns:a16="http://schemas.microsoft.com/office/drawing/2014/main" id="{38079ADC-851C-4949-A725-5C96D75E4CE7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488237" y="4694238"/>
              <a:ext cx="68263" cy="25400"/>
            </a:xfrm>
            <a:custGeom>
              <a:avLst/>
              <a:gdLst>
                <a:gd name="T0" fmla="*/ 0 w 86"/>
                <a:gd name="T1" fmla="*/ 3277 h 31"/>
                <a:gd name="T2" fmla="*/ 0 w 86"/>
                <a:gd name="T3" fmla="*/ 3277 h 31"/>
                <a:gd name="T4" fmla="*/ 17463 w 86"/>
                <a:gd name="T5" fmla="*/ 6555 h 31"/>
                <a:gd name="T6" fmla="*/ 14288 w 86"/>
                <a:gd name="T7" fmla="*/ 3277 h 31"/>
                <a:gd name="T8" fmla="*/ 10319 w 86"/>
                <a:gd name="T9" fmla="*/ 0 h 31"/>
                <a:gd name="T10" fmla="*/ 3969 w 86"/>
                <a:gd name="T11" fmla="*/ 0 h 31"/>
                <a:gd name="T12" fmla="*/ 0 w 86"/>
                <a:gd name="T13" fmla="*/ 3277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31"/>
                <a:gd name="T23" fmla="*/ 86 w 8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31">
                  <a:moveTo>
                    <a:pt x="0" y="16"/>
                  </a:moveTo>
                  <a:lnTo>
                    <a:pt x="0" y="16"/>
                  </a:lnTo>
                  <a:lnTo>
                    <a:pt x="86" y="31"/>
                  </a:lnTo>
                  <a:lnTo>
                    <a:pt x="69" y="16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49" name="Freeform 110">
              <a:extLst>
                <a:ext uri="{FF2B5EF4-FFF2-40B4-BE49-F238E27FC236}">
                  <a16:creationId xmlns:a16="http://schemas.microsoft.com/office/drawing/2014/main" id="{5CD09A6A-C57B-4EAA-8DBA-D806E6F2CB26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473949" y="4668838"/>
              <a:ext cx="26988" cy="0"/>
            </a:xfrm>
            <a:custGeom>
              <a:avLst/>
              <a:gdLst>
                <a:gd name="T0" fmla="*/ 0 w 34"/>
                <a:gd name="T1" fmla="*/ 0 w 34"/>
                <a:gd name="T2" fmla="*/ 7144 w 34"/>
                <a:gd name="T3" fmla="*/ 3175 w 34"/>
                <a:gd name="T4" fmla="*/ 0 w 34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4"/>
                <a:gd name="T11" fmla="*/ 34 w 34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4">
                  <a:moveTo>
                    <a:pt x="0" y="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0" name="Freeform 111">
              <a:extLst>
                <a:ext uri="{FF2B5EF4-FFF2-40B4-BE49-F238E27FC236}">
                  <a16:creationId xmlns:a16="http://schemas.microsoft.com/office/drawing/2014/main" id="{A2F25EE9-79EB-46CD-8B3F-95AE88681334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651749" y="4656138"/>
              <a:ext cx="14288" cy="12700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3969 w 18"/>
                <a:gd name="T5" fmla="*/ 3387 h 15"/>
                <a:gd name="T6" fmla="*/ 3969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1" name="Freeform 112">
              <a:extLst>
                <a:ext uri="{FF2B5EF4-FFF2-40B4-BE49-F238E27FC236}">
                  <a16:creationId xmlns:a16="http://schemas.microsoft.com/office/drawing/2014/main" id="{6395F3A9-6116-4F8C-9FDE-7BBD8F9330D3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926387" y="4719638"/>
              <a:ext cx="96838" cy="50800"/>
            </a:xfrm>
            <a:custGeom>
              <a:avLst/>
              <a:gdLst>
                <a:gd name="T0" fmla="*/ 0 w 123"/>
                <a:gd name="T1" fmla="*/ 6252 h 65"/>
                <a:gd name="T2" fmla="*/ 0 w 123"/>
                <a:gd name="T3" fmla="*/ 6252 h 65"/>
                <a:gd name="T4" fmla="*/ 6298 w 123"/>
                <a:gd name="T5" fmla="*/ 12505 h 65"/>
                <a:gd name="T6" fmla="*/ 13384 w 123"/>
                <a:gd name="T7" fmla="*/ 12505 h 65"/>
                <a:gd name="T8" fmla="*/ 20470 w 123"/>
                <a:gd name="T9" fmla="*/ 9378 h 65"/>
                <a:gd name="T10" fmla="*/ 23619 w 123"/>
                <a:gd name="T11" fmla="*/ 3126 h 65"/>
                <a:gd name="T12" fmla="*/ 23619 w 123"/>
                <a:gd name="T13" fmla="*/ 0 h 65"/>
                <a:gd name="T14" fmla="*/ 20470 w 123"/>
                <a:gd name="T15" fmla="*/ 0 h 65"/>
                <a:gd name="T16" fmla="*/ 20470 w 123"/>
                <a:gd name="T17" fmla="*/ 6252 h 65"/>
                <a:gd name="T18" fmla="*/ 17321 w 123"/>
                <a:gd name="T19" fmla="*/ 6252 h 65"/>
                <a:gd name="T20" fmla="*/ 13384 w 123"/>
                <a:gd name="T21" fmla="*/ 6252 h 65"/>
                <a:gd name="T22" fmla="*/ 0 w 123"/>
                <a:gd name="T23" fmla="*/ 6252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3"/>
                <a:gd name="T37" fmla="*/ 0 h 65"/>
                <a:gd name="T38" fmla="*/ 123 w 123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3" h="65">
                  <a:moveTo>
                    <a:pt x="0" y="33"/>
                  </a:moveTo>
                  <a:lnTo>
                    <a:pt x="0" y="33"/>
                  </a:lnTo>
                  <a:lnTo>
                    <a:pt x="35" y="65"/>
                  </a:lnTo>
                  <a:lnTo>
                    <a:pt x="71" y="65"/>
                  </a:lnTo>
                  <a:lnTo>
                    <a:pt x="106" y="48"/>
                  </a:lnTo>
                  <a:lnTo>
                    <a:pt x="123" y="17"/>
                  </a:lnTo>
                  <a:lnTo>
                    <a:pt x="123" y="0"/>
                  </a:lnTo>
                  <a:lnTo>
                    <a:pt x="106" y="0"/>
                  </a:lnTo>
                  <a:lnTo>
                    <a:pt x="106" y="33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2" name="Freeform 113">
              <a:extLst>
                <a:ext uri="{FF2B5EF4-FFF2-40B4-BE49-F238E27FC236}">
                  <a16:creationId xmlns:a16="http://schemas.microsoft.com/office/drawing/2014/main" id="{C468CDC4-BC38-4D83-ABB4-C3595A20898B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996237" y="4706938"/>
              <a:ext cx="41275" cy="25400"/>
            </a:xfrm>
            <a:custGeom>
              <a:avLst/>
              <a:gdLst>
                <a:gd name="T0" fmla="*/ 0 w 52"/>
                <a:gd name="T1" fmla="*/ 0 h 32"/>
                <a:gd name="T2" fmla="*/ 0 w 52"/>
                <a:gd name="T3" fmla="*/ 0 h 32"/>
                <a:gd name="T4" fmla="*/ 7144 w 52"/>
                <a:gd name="T5" fmla="*/ 2381 h 32"/>
                <a:gd name="T6" fmla="*/ 10319 w 52"/>
                <a:gd name="T7" fmla="*/ 6350 h 32"/>
                <a:gd name="T8" fmla="*/ 10319 w 52"/>
                <a:gd name="T9" fmla="*/ 2381 h 32"/>
                <a:gd name="T10" fmla="*/ 0 w 52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2"/>
                <a:gd name="T20" fmla="*/ 52 w 52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2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3" name="Freeform 114">
              <a:extLst>
                <a:ext uri="{FF2B5EF4-FFF2-40B4-BE49-F238E27FC236}">
                  <a16:creationId xmlns:a16="http://schemas.microsoft.com/office/drawing/2014/main" id="{5C5F90C5-E549-4FBA-AEC5-2BD6BD88D504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078787" y="4745038"/>
              <a:ext cx="26988" cy="38100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3084 w 35"/>
                <a:gd name="T5" fmla="*/ 9525 h 48"/>
                <a:gd name="T6" fmla="*/ 6169 w 35"/>
                <a:gd name="T7" fmla="*/ 6350 h 48"/>
                <a:gd name="T8" fmla="*/ 0 w 35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48"/>
                <a:gd name="T17" fmla="*/ 35 w 35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48">
                  <a:moveTo>
                    <a:pt x="0" y="0"/>
                  </a:moveTo>
                  <a:lnTo>
                    <a:pt x="0" y="0"/>
                  </a:lnTo>
                  <a:lnTo>
                    <a:pt x="17" y="48"/>
                  </a:lnTo>
                  <a:lnTo>
                    <a:pt x="35" y="32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4" name="Freeform 115">
              <a:extLst>
                <a:ext uri="{FF2B5EF4-FFF2-40B4-BE49-F238E27FC236}">
                  <a16:creationId xmlns:a16="http://schemas.microsoft.com/office/drawing/2014/main" id="{C77B4C97-A1F4-4BFE-AE63-7BED37317F67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174037" y="4821238"/>
              <a:ext cx="28575" cy="12700"/>
            </a:xfrm>
            <a:custGeom>
              <a:avLst/>
              <a:gdLst>
                <a:gd name="T0" fmla="*/ 0 w 34"/>
                <a:gd name="T1" fmla="*/ 0 h 15"/>
                <a:gd name="T2" fmla="*/ 0 w 34"/>
                <a:gd name="T3" fmla="*/ 0 h 15"/>
                <a:gd name="T4" fmla="*/ 0 w 34"/>
                <a:gd name="T5" fmla="*/ 3387 h 15"/>
                <a:gd name="T6" fmla="*/ 8404 w 34"/>
                <a:gd name="T7" fmla="*/ 3387 h 15"/>
                <a:gd name="T8" fmla="*/ 0 w 34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5"/>
                <a:gd name="T17" fmla="*/ 34 w 3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5" name="Freeform 116">
              <a:extLst>
                <a:ext uri="{FF2B5EF4-FFF2-40B4-BE49-F238E27FC236}">
                  <a16:creationId xmlns:a16="http://schemas.microsoft.com/office/drawing/2014/main" id="{13526923-7B5E-4161-8333-6AF56AB25ED1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339137" y="4935538"/>
              <a:ext cx="14288" cy="25400"/>
            </a:xfrm>
            <a:custGeom>
              <a:avLst/>
              <a:gdLst>
                <a:gd name="T0" fmla="*/ 0 w 18"/>
                <a:gd name="T1" fmla="*/ 0 h 32"/>
                <a:gd name="T2" fmla="*/ 0 w 18"/>
                <a:gd name="T3" fmla="*/ 0 h 32"/>
                <a:gd name="T4" fmla="*/ 0 w 18"/>
                <a:gd name="T5" fmla="*/ 6350 h 32"/>
                <a:gd name="T6" fmla="*/ 3969 w 18"/>
                <a:gd name="T7" fmla="*/ 2381 h 32"/>
                <a:gd name="T8" fmla="*/ 0 w 18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2"/>
                <a:gd name="T17" fmla="*/ 18 w 18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2">
                  <a:moveTo>
                    <a:pt x="0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18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6" name="Freeform 117">
              <a:extLst>
                <a:ext uri="{FF2B5EF4-FFF2-40B4-BE49-F238E27FC236}">
                  <a16:creationId xmlns:a16="http://schemas.microsoft.com/office/drawing/2014/main" id="{954FFC5D-D37F-48FB-9DE9-F5F52771CD51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286749" y="5049838"/>
              <a:ext cx="52388" cy="49213"/>
            </a:xfrm>
            <a:custGeom>
              <a:avLst/>
              <a:gdLst>
                <a:gd name="T0" fmla="*/ 0 w 67"/>
                <a:gd name="T1" fmla="*/ 0 h 63"/>
                <a:gd name="T2" fmla="*/ 0 w 67"/>
                <a:gd name="T3" fmla="*/ 0 h 63"/>
                <a:gd name="T4" fmla="*/ 3128 w 67"/>
                <a:gd name="T5" fmla="*/ 6249 h 63"/>
                <a:gd name="T6" fmla="*/ 9383 w 67"/>
                <a:gd name="T7" fmla="*/ 11717 h 63"/>
                <a:gd name="T8" fmla="*/ 12511 w 67"/>
                <a:gd name="T9" fmla="*/ 11717 h 63"/>
                <a:gd name="T10" fmla="*/ 3128 w 67"/>
                <a:gd name="T11" fmla="*/ 2343 h 63"/>
                <a:gd name="T12" fmla="*/ 0 w 67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3"/>
                <a:gd name="T23" fmla="*/ 67 w 67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3">
                  <a:moveTo>
                    <a:pt x="0" y="0"/>
                  </a:moveTo>
                  <a:lnTo>
                    <a:pt x="0" y="0"/>
                  </a:lnTo>
                  <a:lnTo>
                    <a:pt x="17" y="32"/>
                  </a:lnTo>
                  <a:lnTo>
                    <a:pt x="50" y="63"/>
                  </a:lnTo>
                  <a:lnTo>
                    <a:pt x="67" y="63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7" name="Freeform 118">
              <a:extLst>
                <a:ext uri="{FF2B5EF4-FFF2-40B4-BE49-F238E27FC236}">
                  <a16:creationId xmlns:a16="http://schemas.microsoft.com/office/drawing/2014/main" id="{965426BF-7C1B-4DF5-8069-B78120290DEF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559799" y="4986338"/>
              <a:ext cx="28575" cy="25400"/>
            </a:xfrm>
            <a:custGeom>
              <a:avLst/>
              <a:gdLst>
                <a:gd name="T0" fmla="*/ 0 w 34"/>
                <a:gd name="T1" fmla="*/ 6158 h 33"/>
                <a:gd name="T2" fmla="*/ 0 w 34"/>
                <a:gd name="T3" fmla="*/ 6158 h 33"/>
                <a:gd name="T4" fmla="*/ 8404 w 34"/>
                <a:gd name="T5" fmla="*/ 6158 h 33"/>
                <a:gd name="T6" fmla="*/ 8404 w 34"/>
                <a:gd name="T7" fmla="*/ 3079 h 33"/>
                <a:gd name="T8" fmla="*/ 4202 w 34"/>
                <a:gd name="T9" fmla="*/ 0 h 33"/>
                <a:gd name="T10" fmla="*/ 0 w 34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33"/>
                  </a:moveTo>
                  <a:lnTo>
                    <a:pt x="0" y="33"/>
                  </a:lnTo>
                  <a:lnTo>
                    <a:pt x="34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8" name="Freeform 119">
              <a:extLst>
                <a:ext uri="{FF2B5EF4-FFF2-40B4-BE49-F238E27FC236}">
                  <a16:creationId xmlns:a16="http://schemas.microsoft.com/office/drawing/2014/main" id="{C83C6265-7006-4E6F-AED5-8CE18E50355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588374" y="4973638"/>
              <a:ext cx="26988" cy="12700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3084 w 35"/>
                <a:gd name="T5" fmla="*/ 3387 h 15"/>
                <a:gd name="T6" fmla="*/ 6169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59" name="Line 120">
              <a:extLst>
                <a:ext uri="{FF2B5EF4-FFF2-40B4-BE49-F238E27FC236}">
                  <a16:creationId xmlns:a16="http://schemas.microsoft.com/office/drawing/2014/main" id="{DDC17FF3-9AB3-44AF-B780-F7F6ECD1DFE3}"/>
                </a:ext>
              </a:extLst>
            </p:cNvPr>
            <p:cNvSpPr>
              <a:spLocks noChangeShapeType="1"/>
            </p:cNvSpPr>
            <p:nvPr>
              <p:custDataLst>
                <p:tags r:id="rId120"/>
              </p:custDataLst>
            </p:nvPr>
          </p:nvSpPr>
          <p:spPr bwMode="auto">
            <a:xfrm flipV="1">
              <a:off x="7564437" y="4789488"/>
              <a:ext cx="12700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0" name="Line 121">
              <a:extLst>
                <a:ext uri="{FF2B5EF4-FFF2-40B4-BE49-F238E27FC236}">
                  <a16:creationId xmlns:a16="http://schemas.microsoft.com/office/drawing/2014/main" id="{38CB1D65-9F62-4EDA-AD94-E1400292BCE1}"/>
                </a:ext>
              </a:extLst>
            </p:cNvPr>
            <p:cNvSpPr>
              <a:spLocks noChangeShapeType="1"/>
            </p:cNvSpPr>
            <p:nvPr>
              <p:custDataLst>
                <p:tags r:id="rId121"/>
              </p:custDataLst>
            </p:nvPr>
          </p:nvSpPr>
          <p:spPr bwMode="auto">
            <a:xfrm>
              <a:off x="8112124" y="4789488"/>
              <a:ext cx="28575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1" name="Line 122">
              <a:extLst>
                <a:ext uri="{FF2B5EF4-FFF2-40B4-BE49-F238E27FC236}">
                  <a16:creationId xmlns:a16="http://schemas.microsoft.com/office/drawing/2014/main" id="{4CEECD8B-1AC5-46C6-94A0-6DEBD556B8F0}"/>
                </a:ext>
              </a:extLst>
            </p:cNvPr>
            <p:cNvSpPr>
              <a:spLocks noChangeShapeType="1"/>
            </p:cNvSpPr>
            <p:nvPr>
              <p:custDataLst>
                <p:tags r:id="rId122"/>
              </p:custDataLst>
            </p:nvPr>
          </p:nvSpPr>
          <p:spPr bwMode="auto">
            <a:xfrm>
              <a:off x="8140699" y="4814888"/>
              <a:ext cx="12700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2" name="Line 123">
              <a:extLst>
                <a:ext uri="{FF2B5EF4-FFF2-40B4-BE49-F238E27FC236}">
                  <a16:creationId xmlns:a16="http://schemas.microsoft.com/office/drawing/2014/main" id="{91AB5D34-9F15-4DE3-BD7A-9844B7887F4B}"/>
                </a:ext>
              </a:extLst>
            </p:cNvPr>
            <p:cNvSpPr>
              <a:spLocks noChangeShapeType="1"/>
            </p:cNvSpPr>
            <p:nvPr>
              <p:custDataLst>
                <p:tags r:id="rId123"/>
              </p:custDataLst>
            </p:nvPr>
          </p:nvSpPr>
          <p:spPr bwMode="auto">
            <a:xfrm>
              <a:off x="8210549" y="4827588"/>
              <a:ext cx="12700" cy="254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3" name="Line 124">
              <a:extLst>
                <a:ext uri="{FF2B5EF4-FFF2-40B4-BE49-F238E27FC236}">
                  <a16:creationId xmlns:a16="http://schemas.microsoft.com/office/drawing/2014/main" id="{54309C6B-E559-4B57-B4F1-93296856DB41}"/>
                </a:ext>
              </a:extLst>
            </p:cNvPr>
            <p:cNvSpPr>
              <a:spLocks noChangeShapeType="1"/>
            </p:cNvSpPr>
            <p:nvPr>
              <p:custDataLst>
                <p:tags r:id="rId124"/>
              </p:custDataLst>
            </p:nvPr>
          </p:nvSpPr>
          <p:spPr bwMode="auto">
            <a:xfrm>
              <a:off x="8223249" y="4865688"/>
              <a:ext cx="26988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4" name="Freeform 125">
              <a:extLst>
                <a:ext uri="{FF2B5EF4-FFF2-40B4-BE49-F238E27FC236}">
                  <a16:creationId xmlns:a16="http://schemas.microsoft.com/office/drawing/2014/main" id="{DB766C31-0DA2-459D-961A-2AAF0386D7B9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7088187" y="4503738"/>
              <a:ext cx="220663" cy="114300"/>
            </a:xfrm>
            <a:custGeom>
              <a:avLst/>
              <a:gdLst>
                <a:gd name="T0" fmla="*/ 30956 w 278"/>
                <a:gd name="T1" fmla="*/ 9525 h 144"/>
                <a:gd name="T2" fmla="*/ 30956 w 278"/>
                <a:gd name="T3" fmla="*/ 9525 h 144"/>
                <a:gd name="T4" fmla="*/ 34131 w 278"/>
                <a:gd name="T5" fmla="*/ 9525 h 144"/>
                <a:gd name="T6" fmla="*/ 30956 w 278"/>
                <a:gd name="T7" fmla="*/ 11906 h 144"/>
                <a:gd name="T8" fmla="*/ 27781 w 278"/>
                <a:gd name="T9" fmla="*/ 11906 h 144"/>
                <a:gd name="T10" fmla="*/ 23813 w 278"/>
                <a:gd name="T11" fmla="*/ 11906 h 144"/>
                <a:gd name="T12" fmla="*/ 17463 w 278"/>
                <a:gd name="T13" fmla="*/ 19050 h 144"/>
                <a:gd name="T14" fmla="*/ 10319 w 278"/>
                <a:gd name="T15" fmla="*/ 19050 h 144"/>
                <a:gd name="T16" fmla="*/ 10319 w 278"/>
                <a:gd name="T17" fmla="*/ 24606 h 144"/>
                <a:gd name="T18" fmla="*/ 0 w 278"/>
                <a:gd name="T19" fmla="*/ 24606 h 144"/>
                <a:gd name="T20" fmla="*/ 7144 w 278"/>
                <a:gd name="T21" fmla="*/ 28575 h 144"/>
                <a:gd name="T22" fmla="*/ 13494 w 278"/>
                <a:gd name="T23" fmla="*/ 28575 h 144"/>
                <a:gd name="T24" fmla="*/ 17463 w 278"/>
                <a:gd name="T25" fmla="*/ 24606 h 144"/>
                <a:gd name="T26" fmla="*/ 23813 w 278"/>
                <a:gd name="T27" fmla="*/ 28575 h 144"/>
                <a:gd name="T28" fmla="*/ 27781 w 278"/>
                <a:gd name="T29" fmla="*/ 24606 h 144"/>
                <a:gd name="T30" fmla="*/ 38100 w 278"/>
                <a:gd name="T31" fmla="*/ 11906 h 144"/>
                <a:gd name="T32" fmla="*/ 48419 w 278"/>
                <a:gd name="T33" fmla="*/ 11906 h 144"/>
                <a:gd name="T34" fmla="*/ 52388 w 278"/>
                <a:gd name="T35" fmla="*/ 11906 h 144"/>
                <a:gd name="T36" fmla="*/ 48419 w 278"/>
                <a:gd name="T37" fmla="*/ 9525 h 144"/>
                <a:gd name="T38" fmla="*/ 55563 w 278"/>
                <a:gd name="T39" fmla="*/ 9525 h 144"/>
                <a:gd name="T40" fmla="*/ 44450 w 278"/>
                <a:gd name="T41" fmla="*/ 5556 h 144"/>
                <a:gd name="T42" fmla="*/ 44450 w 278"/>
                <a:gd name="T43" fmla="*/ 2381 h 144"/>
                <a:gd name="T44" fmla="*/ 41275 w 278"/>
                <a:gd name="T45" fmla="*/ 0 h 144"/>
                <a:gd name="T46" fmla="*/ 34131 w 278"/>
                <a:gd name="T47" fmla="*/ 5556 h 144"/>
                <a:gd name="T48" fmla="*/ 30956 w 278"/>
                <a:gd name="T49" fmla="*/ 9525 h 14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8"/>
                <a:gd name="T76" fmla="*/ 0 h 144"/>
                <a:gd name="T77" fmla="*/ 278 w 278"/>
                <a:gd name="T78" fmla="*/ 144 h 14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8" h="144">
                  <a:moveTo>
                    <a:pt x="158" y="48"/>
                  </a:moveTo>
                  <a:lnTo>
                    <a:pt x="158" y="48"/>
                  </a:lnTo>
                  <a:lnTo>
                    <a:pt x="175" y="48"/>
                  </a:lnTo>
                  <a:lnTo>
                    <a:pt x="158" y="63"/>
                  </a:lnTo>
                  <a:lnTo>
                    <a:pt x="140" y="63"/>
                  </a:lnTo>
                  <a:lnTo>
                    <a:pt x="123" y="63"/>
                  </a:lnTo>
                  <a:lnTo>
                    <a:pt x="88" y="96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0" y="126"/>
                  </a:lnTo>
                  <a:lnTo>
                    <a:pt x="35" y="144"/>
                  </a:lnTo>
                  <a:lnTo>
                    <a:pt x="69" y="144"/>
                  </a:lnTo>
                  <a:lnTo>
                    <a:pt x="88" y="126"/>
                  </a:lnTo>
                  <a:lnTo>
                    <a:pt x="123" y="144"/>
                  </a:lnTo>
                  <a:lnTo>
                    <a:pt x="140" y="126"/>
                  </a:lnTo>
                  <a:lnTo>
                    <a:pt x="192" y="63"/>
                  </a:lnTo>
                  <a:lnTo>
                    <a:pt x="244" y="63"/>
                  </a:lnTo>
                  <a:lnTo>
                    <a:pt x="261" y="63"/>
                  </a:lnTo>
                  <a:lnTo>
                    <a:pt x="244" y="48"/>
                  </a:lnTo>
                  <a:lnTo>
                    <a:pt x="278" y="48"/>
                  </a:lnTo>
                  <a:lnTo>
                    <a:pt x="227" y="30"/>
                  </a:lnTo>
                  <a:lnTo>
                    <a:pt x="227" y="15"/>
                  </a:lnTo>
                  <a:lnTo>
                    <a:pt x="209" y="0"/>
                  </a:lnTo>
                  <a:lnTo>
                    <a:pt x="175" y="30"/>
                  </a:lnTo>
                  <a:lnTo>
                    <a:pt x="158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5" name="Freeform 126">
              <a:extLst>
                <a:ext uri="{FF2B5EF4-FFF2-40B4-BE49-F238E27FC236}">
                  <a16:creationId xmlns:a16="http://schemas.microsoft.com/office/drawing/2014/main" id="{0FABC27B-8099-4A7E-A603-556A969029A9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7185024" y="4541838"/>
              <a:ext cx="41275" cy="12700"/>
            </a:xfrm>
            <a:custGeom>
              <a:avLst/>
              <a:gdLst>
                <a:gd name="T0" fmla="*/ 0 w 52"/>
                <a:gd name="T1" fmla="*/ 3387 h 15"/>
                <a:gd name="T2" fmla="*/ 0 w 52"/>
                <a:gd name="T3" fmla="*/ 3387 h 15"/>
                <a:gd name="T4" fmla="*/ 3969 w 52"/>
                <a:gd name="T5" fmla="*/ 3387 h 15"/>
                <a:gd name="T6" fmla="*/ 7144 w 52"/>
                <a:gd name="T7" fmla="*/ 3387 h 15"/>
                <a:gd name="T8" fmla="*/ 10319 w 52"/>
                <a:gd name="T9" fmla="*/ 0 h 15"/>
                <a:gd name="T10" fmla="*/ 7144 w 52"/>
                <a:gd name="T11" fmla="*/ 0 h 15"/>
                <a:gd name="T12" fmla="*/ 0 w 52"/>
                <a:gd name="T13" fmla="*/ 338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6" name="Freeform 127">
              <a:extLst>
                <a:ext uri="{FF2B5EF4-FFF2-40B4-BE49-F238E27FC236}">
                  <a16:creationId xmlns:a16="http://schemas.microsoft.com/office/drawing/2014/main" id="{A117A525-9ABE-4945-A722-9741901B1958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7073899" y="4554538"/>
              <a:ext cx="222250" cy="165100"/>
            </a:xfrm>
            <a:custGeom>
              <a:avLst/>
              <a:gdLst>
                <a:gd name="T0" fmla="*/ 3997 w 278"/>
                <a:gd name="T1" fmla="*/ 12761 h 207"/>
                <a:gd name="T2" fmla="*/ 3997 w 278"/>
                <a:gd name="T3" fmla="*/ 12761 h 207"/>
                <a:gd name="T4" fmla="*/ 10393 w 278"/>
                <a:gd name="T5" fmla="*/ 16749 h 207"/>
                <a:gd name="T6" fmla="*/ 17588 w 278"/>
                <a:gd name="T7" fmla="*/ 16749 h 207"/>
                <a:gd name="T8" fmla="*/ 20786 w 278"/>
                <a:gd name="T9" fmla="*/ 12761 h 207"/>
                <a:gd name="T10" fmla="*/ 27981 w 278"/>
                <a:gd name="T11" fmla="*/ 16749 h 207"/>
                <a:gd name="T12" fmla="*/ 31179 w 278"/>
                <a:gd name="T13" fmla="*/ 12761 h 207"/>
                <a:gd name="T14" fmla="*/ 41572 w 278"/>
                <a:gd name="T15" fmla="*/ 0 h 207"/>
                <a:gd name="T16" fmla="*/ 52764 w 278"/>
                <a:gd name="T17" fmla="*/ 0 h 207"/>
                <a:gd name="T18" fmla="*/ 49567 w 278"/>
                <a:gd name="T19" fmla="*/ 7178 h 207"/>
                <a:gd name="T20" fmla="*/ 52764 w 278"/>
                <a:gd name="T21" fmla="*/ 9571 h 207"/>
                <a:gd name="T22" fmla="*/ 49567 w 278"/>
                <a:gd name="T23" fmla="*/ 12761 h 207"/>
                <a:gd name="T24" fmla="*/ 56762 w 278"/>
                <a:gd name="T25" fmla="*/ 16749 h 207"/>
                <a:gd name="T26" fmla="*/ 52764 w 278"/>
                <a:gd name="T27" fmla="*/ 19142 h 207"/>
                <a:gd name="T28" fmla="*/ 45569 w 278"/>
                <a:gd name="T29" fmla="*/ 26320 h 207"/>
                <a:gd name="T30" fmla="*/ 41572 w 278"/>
                <a:gd name="T31" fmla="*/ 31903 h 207"/>
                <a:gd name="T32" fmla="*/ 45569 w 278"/>
                <a:gd name="T33" fmla="*/ 31903 h 207"/>
                <a:gd name="T34" fmla="*/ 41572 w 278"/>
                <a:gd name="T35" fmla="*/ 38284 h 207"/>
                <a:gd name="T36" fmla="*/ 35176 w 278"/>
                <a:gd name="T37" fmla="*/ 41474 h 207"/>
                <a:gd name="T38" fmla="*/ 31179 w 278"/>
                <a:gd name="T39" fmla="*/ 38284 h 207"/>
                <a:gd name="T40" fmla="*/ 24783 w 278"/>
                <a:gd name="T41" fmla="*/ 38284 h 207"/>
                <a:gd name="T42" fmla="*/ 17588 w 278"/>
                <a:gd name="T43" fmla="*/ 38284 h 207"/>
                <a:gd name="T44" fmla="*/ 17588 w 278"/>
                <a:gd name="T45" fmla="*/ 35094 h 207"/>
                <a:gd name="T46" fmla="*/ 10393 w 278"/>
                <a:gd name="T47" fmla="*/ 35094 h 207"/>
                <a:gd name="T48" fmla="*/ 7195 w 278"/>
                <a:gd name="T49" fmla="*/ 28713 h 207"/>
                <a:gd name="T50" fmla="*/ 3997 w 278"/>
                <a:gd name="T51" fmla="*/ 22332 h 207"/>
                <a:gd name="T52" fmla="*/ 0 w 278"/>
                <a:gd name="T53" fmla="*/ 16749 h 207"/>
                <a:gd name="T54" fmla="*/ 3997 w 278"/>
                <a:gd name="T55" fmla="*/ 12761 h 2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8"/>
                <a:gd name="T85" fmla="*/ 0 h 207"/>
                <a:gd name="T86" fmla="*/ 278 w 278"/>
                <a:gd name="T87" fmla="*/ 207 h 2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8" h="207">
                  <a:moveTo>
                    <a:pt x="17" y="63"/>
                  </a:moveTo>
                  <a:lnTo>
                    <a:pt x="17" y="63"/>
                  </a:lnTo>
                  <a:lnTo>
                    <a:pt x="52" y="81"/>
                  </a:lnTo>
                  <a:lnTo>
                    <a:pt x="86" y="81"/>
                  </a:lnTo>
                  <a:lnTo>
                    <a:pt x="104" y="63"/>
                  </a:lnTo>
                  <a:lnTo>
                    <a:pt x="138" y="81"/>
                  </a:lnTo>
                  <a:lnTo>
                    <a:pt x="155" y="63"/>
                  </a:lnTo>
                  <a:lnTo>
                    <a:pt x="207" y="0"/>
                  </a:lnTo>
                  <a:lnTo>
                    <a:pt x="261" y="0"/>
                  </a:lnTo>
                  <a:lnTo>
                    <a:pt x="244" y="33"/>
                  </a:lnTo>
                  <a:lnTo>
                    <a:pt x="261" y="48"/>
                  </a:lnTo>
                  <a:lnTo>
                    <a:pt x="244" y="63"/>
                  </a:lnTo>
                  <a:lnTo>
                    <a:pt x="278" y="81"/>
                  </a:lnTo>
                  <a:lnTo>
                    <a:pt x="261" y="96"/>
                  </a:lnTo>
                  <a:lnTo>
                    <a:pt x="224" y="129"/>
                  </a:lnTo>
                  <a:lnTo>
                    <a:pt x="207" y="159"/>
                  </a:lnTo>
                  <a:lnTo>
                    <a:pt x="224" y="159"/>
                  </a:lnTo>
                  <a:lnTo>
                    <a:pt x="207" y="192"/>
                  </a:lnTo>
                  <a:lnTo>
                    <a:pt x="173" y="207"/>
                  </a:lnTo>
                  <a:lnTo>
                    <a:pt x="155" y="192"/>
                  </a:lnTo>
                  <a:lnTo>
                    <a:pt x="121" y="192"/>
                  </a:lnTo>
                  <a:lnTo>
                    <a:pt x="86" y="192"/>
                  </a:lnTo>
                  <a:lnTo>
                    <a:pt x="86" y="176"/>
                  </a:lnTo>
                  <a:lnTo>
                    <a:pt x="52" y="176"/>
                  </a:lnTo>
                  <a:lnTo>
                    <a:pt x="34" y="144"/>
                  </a:lnTo>
                  <a:lnTo>
                    <a:pt x="17" y="111"/>
                  </a:lnTo>
                  <a:lnTo>
                    <a:pt x="0" y="81"/>
                  </a:lnTo>
                  <a:lnTo>
                    <a:pt x="17" y="6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7" name="Freeform 128">
              <a:extLst>
                <a:ext uri="{FF2B5EF4-FFF2-40B4-BE49-F238E27FC236}">
                  <a16:creationId xmlns:a16="http://schemas.microsoft.com/office/drawing/2014/main" id="{2B3054D7-9DB9-4DC2-9BFE-851A2CF0338F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6826249" y="4605338"/>
              <a:ext cx="15875" cy="25400"/>
            </a:xfrm>
            <a:custGeom>
              <a:avLst/>
              <a:gdLst>
                <a:gd name="T0" fmla="*/ 0 w 19"/>
                <a:gd name="T1" fmla="*/ 3079 h 33"/>
                <a:gd name="T2" fmla="*/ 0 w 19"/>
                <a:gd name="T3" fmla="*/ 3079 h 33"/>
                <a:gd name="T4" fmla="*/ 4178 w 19"/>
                <a:gd name="T5" fmla="*/ 6158 h 33"/>
                <a:gd name="T6" fmla="*/ 0 w 19"/>
                <a:gd name="T7" fmla="*/ 0 h 33"/>
                <a:gd name="T8" fmla="*/ 0 w 19"/>
                <a:gd name="T9" fmla="*/ 3079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33"/>
                <a:gd name="T17" fmla="*/ 19 w 19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33">
                  <a:moveTo>
                    <a:pt x="0" y="18"/>
                  </a:moveTo>
                  <a:lnTo>
                    <a:pt x="0" y="18"/>
                  </a:lnTo>
                  <a:lnTo>
                    <a:pt x="19" y="33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8" name="Freeform 129">
              <a:extLst>
                <a:ext uri="{FF2B5EF4-FFF2-40B4-BE49-F238E27FC236}">
                  <a16:creationId xmlns:a16="http://schemas.microsoft.com/office/drawing/2014/main" id="{1B78DA6A-EF55-40D5-847C-FFE3E82A96D7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6854824" y="4656138"/>
              <a:ext cx="12700" cy="25400"/>
            </a:xfrm>
            <a:custGeom>
              <a:avLst/>
              <a:gdLst>
                <a:gd name="T0" fmla="*/ 0 w 16"/>
                <a:gd name="T1" fmla="*/ 0 h 30"/>
                <a:gd name="T2" fmla="*/ 0 w 16"/>
                <a:gd name="T3" fmla="*/ 0 h 30"/>
                <a:gd name="T4" fmla="*/ 3175 w 16"/>
                <a:gd name="T5" fmla="*/ 7620 h 30"/>
                <a:gd name="T6" fmla="*/ 3175 w 16"/>
                <a:gd name="T7" fmla="*/ 3387 h 30"/>
                <a:gd name="T8" fmla="*/ 3175 w 16"/>
                <a:gd name="T9" fmla="*/ 0 h 30"/>
                <a:gd name="T10" fmla="*/ 0 w 16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0"/>
                <a:gd name="T20" fmla="*/ 16 w 16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0">
                  <a:moveTo>
                    <a:pt x="0" y="0"/>
                  </a:moveTo>
                  <a:lnTo>
                    <a:pt x="0" y="0"/>
                  </a:lnTo>
                  <a:lnTo>
                    <a:pt x="16" y="30"/>
                  </a:lnTo>
                  <a:lnTo>
                    <a:pt x="16" y="15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69" name="Freeform 130">
              <a:extLst>
                <a:ext uri="{FF2B5EF4-FFF2-40B4-BE49-F238E27FC236}">
                  <a16:creationId xmlns:a16="http://schemas.microsoft.com/office/drawing/2014/main" id="{FEFB7D8A-7D71-46AE-A67B-06E50324BE88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6442074" y="4440238"/>
              <a:ext cx="57150" cy="76200"/>
            </a:xfrm>
            <a:custGeom>
              <a:avLst/>
              <a:gdLst>
                <a:gd name="T0" fmla="*/ 0 w 71"/>
                <a:gd name="T1" fmla="*/ 9525 h 96"/>
                <a:gd name="T2" fmla="*/ 0 w 71"/>
                <a:gd name="T3" fmla="*/ 9525 h 96"/>
                <a:gd name="T4" fmla="*/ 4025 w 71"/>
                <a:gd name="T5" fmla="*/ 19050 h 96"/>
                <a:gd name="T6" fmla="*/ 11269 w 71"/>
                <a:gd name="T7" fmla="*/ 19050 h 96"/>
                <a:gd name="T8" fmla="*/ 14489 w 71"/>
                <a:gd name="T9" fmla="*/ 11906 h 96"/>
                <a:gd name="T10" fmla="*/ 8049 w 71"/>
                <a:gd name="T11" fmla="*/ 2381 h 96"/>
                <a:gd name="T12" fmla="*/ 4025 w 71"/>
                <a:gd name="T13" fmla="*/ 0 h 96"/>
                <a:gd name="T14" fmla="*/ 0 w 71"/>
                <a:gd name="T15" fmla="*/ 952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96"/>
                <a:gd name="T26" fmla="*/ 71 w 71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96">
                  <a:moveTo>
                    <a:pt x="0" y="48"/>
                  </a:moveTo>
                  <a:lnTo>
                    <a:pt x="0" y="48"/>
                  </a:lnTo>
                  <a:lnTo>
                    <a:pt x="17" y="96"/>
                  </a:lnTo>
                  <a:lnTo>
                    <a:pt x="54" y="96"/>
                  </a:lnTo>
                  <a:lnTo>
                    <a:pt x="71" y="63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0" name="Freeform 131">
              <a:extLst>
                <a:ext uri="{FF2B5EF4-FFF2-40B4-BE49-F238E27FC236}">
                  <a16:creationId xmlns:a16="http://schemas.microsoft.com/office/drawing/2014/main" id="{AF05DB15-F3B8-445C-8954-7FC807532664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073899" y="4237038"/>
              <a:ext cx="55563" cy="38100"/>
            </a:xfrm>
            <a:custGeom>
              <a:avLst/>
              <a:gdLst>
                <a:gd name="T0" fmla="*/ 0 w 69"/>
                <a:gd name="T1" fmla="*/ 2381 h 48"/>
                <a:gd name="T2" fmla="*/ 0 w 69"/>
                <a:gd name="T3" fmla="*/ 2381 h 48"/>
                <a:gd name="T4" fmla="*/ 0 w 69"/>
                <a:gd name="T5" fmla="*/ 5556 h 48"/>
                <a:gd name="T6" fmla="*/ 7247 w 69"/>
                <a:gd name="T7" fmla="*/ 9525 h 48"/>
                <a:gd name="T8" fmla="*/ 10468 w 69"/>
                <a:gd name="T9" fmla="*/ 5556 h 48"/>
                <a:gd name="T10" fmla="*/ 14495 w 69"/>
                <a:gd name="T11" fmla="*/ 0 h 48"/>
                <a:gd name="T12" fmla="*/ 4026 w 69"/>
                <a:gd name="T13" fmla="*/ 0 h 48"/>
                <a:gd name="T14" fmla="*/ 0 w 69"/>
                <a:gd name="T15" fmla="*/ 238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0" y="15"/>
                  </a:moveTo>
                  <a:lnTo>
                    <a:pt x="0" y="15"/>
                  </a:lnTo>
                  <a:lnTo>
                    <a:pt x="0" y="31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69" y="0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1" name="Freeform 132">
              <a:extLst>
                <a:ext uri="{FF2B5EF4-FFF2-40B4-BE49-F238E27FC236}">
                  <a16:creationId xmlns:a16="http://schemas.microsoft.com/office/drawing/2014/main" id="{0F40C842-7FE3-436C-AFEF-B2820FD2C83A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7321549" y="4122738"/>
              <a:ext cx="41275" cy="63500"/>
            </a:xfrm>
            <a:custGeom>
              <a:avLst/>
              <a:gdLst>
                <a:gd name="T0" fmla="*/ 0 w 52"/>
                <a:gd name="T1" fmla="*/ 9646 h 79"/>
                <a:gd name="T2" fmla="*/ 0 w 52"/>
                <a:gd name="T3" fmla="*/ 9646 h 79"/>
                <a:gd name="T4" fmla="*/ 0 w 52"/>
                <a:gd name="T5" fmla="*/ 12861 h 79"/>
                <a:gd name="T6" fmla="*/ 3969 w 52"/>
                <a:gd name="T7" fmla="*/ 16076 h 79"/>
                <a:gd name="T8" fmla="*/ 10319 w 52"/>
                <a:gd name="T9" fmla="*/ 0 h 79"/>
                <a:gd name="T10" fmla="*/ 7144 w 52"/>
                <a:gd name="T11" fmla="*/ 0 h 79"/>
                <a:gd name="T12" fmla="*/ 0 w 52"/>
                <a:gd name="T13" fmla="*/ 9646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9"/>
                <a:gd name="T23" fmla="*/ 52 w 52"/>
                <a:gd name="T24" fmla="*/ 79 h 7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9">
                  <a:moveTo>
                    <a:pt x="0" y="48"/>
                  </a:moveTo>
                  <a:lnTo>
                    <a:pt x="0" y="48"/>
                  </a:lnTo>
                  <a:lnTo>
                    <a:pt x="0" y="63"/>
                  </a:lnTo>
                  <a:lnTo>
                    <a:pt x="17" y="79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2" name="Freeform 133">
              <a:extLst>
                <a:ext uri="{FF2B5EF4-FFF2-40B4-BE49-F238E27FC236}">
                  <a16:creationId xmlns:a16="http://schemas.microsoft.com/office/drawing/2014/main" id="{F6EE1865-C91C-4707-8984-9DFE410122E6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6784974" y="4529138"/>
              <a:ext cx="234950" cy="228600"/>
            </a:xfrm>
            <a:custGeom>
              <a:avLst/>
              <a:gdLst>
                <a:gd name="T0" fmla="*/ 0 w 296"/>
                <a:gd name="T1" fmla="*/ 0 h 288"/>
                <a:gd name="T2" fmla="*/ 0 w 296"/>
                <a:gd name="T3" fmla="*/ 0 h 288"/>
                <a:gd name="T4" fmla="*/ 0 w 296"/>
                <a:gd name="T5" fmla="*/ 3969 h 288"/>
                <a:gd name="T6" fmla="*/ 7144 w 296"/>
                <a:gd name="T7" fmla="*/ 9525 h 288"/>
                <a:gd name="T8" fmla="*/ 14288 w 296"/>
                <a:gd name="T9" fmla="*/ 15875 h 288"/>
                <a:gd name="T10" fmla="*/ 17462 w 296"/>
                <a:gd name="T11" fmla="*/ 19050 h 288"/>
                <a:gd name="T12" fmla="*/ 20637 w 296"/>
                <a:gd name="T13" fmla="*/ 26194 h 288"/>
                <a:gd name="T14" fmla="*/ 27781 w 296"/>
                <a:gd name="T15" fmla="*/ 31750 h 288"/>
                <a:gd name="T16" fmla="*/ 34131 w 296"/>
                <a:gd name="T17" fmla="*/ 44450 h 288"/>
                <a:gd name="T18" fmla="*/ 48419 w 296"/>
                <a:gd name="T19" fmla="*/ 57150 h 288"/>
                <a:gd name="T20" fmla="*/ 55563 w 296"/>
                <a:gd name="T21" fmla="*/ 57150 h 288"/>
                <a:gd name="T22" fmla="*/ 58738 w 296"/>
                <a:gd name="T23" fmla="*/ 44450 h 288"/>
                <a:gd name="T24" fmla="*/ 55563 w 296"/>
                <a:gd name="T25" fmla="*/ 38100 h 288"/>
                <a:gd name="T26" fmla="*/ 52388 w 296"/>
                <a:gd name="T27" fmla="*/ 38100 h 288"/>
                <a:gd name="T28" fmla="*/ 48419 w 296"/>
                <a:gd name="T29" fmla="*/ 31750 h 288"/>
                <a:gd name="T30" fmla="*/ 44450 w 296"/>
                <a:gd name="T31" fmla="*/ 31750 h 288"/>
                <a:gd name="T32" fmla="*/ 44450 w 296"/>
                <a:gd name="T33" fmla="*/ 28575 h 288"/>
                <a:gd name="T34" fmla="*/ 41275 w 296"/>
                <a:gd name="T35" fmla="*/ 26194 h 288"/>
                <a:gd name="T36" fmla="*/ 41275 w 296"/>
                <a:gd name="T37" fmla="*/ 22225 h 288"/>
                <a:gd name="T38" fmla="*/ 30956 w 296"/>
                <a:gd name="T39" fmla="*/ 15875 h 288"/>
                <a:gd name="T40" fmla="*/ 27781 w 296"/>
                <a:gd name="T41" fmla="*/ 15875 h 288"/>
                <a:gd name="T42" fmla="*/ 10319 w 296"/>
                <a:gd name="T43" fmla="*/ 3969 h 288"/>
                <a:gd name="T44" fmla="*/ 0 w 296"/>
                <a:gd name="T45" fmla="*/ 0 h 2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6"/>
                <a:gd name="T70" fmla="*/ 0 h 288"/>
                <a:gd name="T71" fmla="*/ 296 w 296"/>
                <a:gd name="T72" fmla="*/ 288 h 2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6" h="28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5" y="48"/>
                  </a:lnTo>
                  <a:lnTo>
                    <a:pt x="71" y="81"/>
                  </a:lnTo>
                  <a:lnTo>
                    <a:pt x="88" y="96"/>
                  </a:lnTo>
                  <a:lnTo>
                    <a:pt x="106" y="129"/>
                  </a:lnTo>
                  <a:lnTo>
                    <a:pt x="140" y="162"/>
                  </a:lnTo>
                  <a:lnTo>
                    <a:pt x="175" y="225"/>
                  </a:lnTo>
                  <a:lnTo>
                    <a:pt x="244" y="288"/>
                  </a:lnTo>
                  <a:lnTo>
                    <a:pt x="278" y="288"/>
                  </a:lnTo>
                  <a:lnTo>
                    <a:pt x="296" y="225"/>
                  </a:lnTo>
                  <a:lnTo>
                    <a:pt x="278" y="192"/>
                  </a:lnTo>
                  <a:lnTo>
                    <a:pt x="261" y="192"/>
                  </a:lnTo>
                  <a:lnTo>
                    <a:pt x="244" y="162"/>
                  </a:lnTo>
                  <a:lnTo>
                    <a:pt x="227" y="162"/>
                  </a:lnTo>
                  <a:lnTo>
                    <a:pt x="227" y="144"/>
                  </a:lnTo>
                  <a:lnTo>
                    <a:pt x="209" y="129"/>
                  </a:lnTo>
                  <a:lnTo>
                    <a:pt x="209" y="114"/>
                  </a:lnTo>
                  <a:lnTo>
                    <a:pt x="158" y="81"/>
                  </a:lnTo>
                  <a:lnTo>
                    <a:pt x="140" y="81"/>
                  </a:lnTo>
                  <a:lnTo>
                    <a:pt x="54" y="18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3" name="Freeform 134">
              <a:extLst>
                <a:ext uri="{FF2B5EF4-FFF2-40B4-BE49-F238E27FC236}">
                  <a16:creationId xmlns:a16="http://schemas.microsoft.com/office/drawing/2014/main" id="{F05DA769-FDB2-4AD1-911A-69054DBD5D53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7005637" y="4757738"/>
              <a:ext cx="192088" cy="50800"/>
            </a:xfrm>
            <a:custGeom>
              <a:avLst/>
              <a:gdLst>
                <a:gd name="T0" fmla="*/ 0 w 242"/>
                <a:gd name="T1" fmla="*/ 3126 h 65"/>
                <a:gd name="T2" fmla="*/ 0 w 242"/>
                <a:gd name="T3" fmla="*/ 3126 h 65"/>
                <a:gd name="T4" fmla="*/ 14288 w 242"/>
                <a:gd name="T5" fmla="*/ 9378 h 65"/>
                <a:gd name="T6" fmla="*/ 48419 w 242"/>
                <a:gd name="T7" fmla="*/ 12505 h 65"/>
                <a:gd name="T8" fmla="*/ 48419 w 242"/>
                <a:gd name="T9" fmla="*/ 9378 h 65"/>
                <a:gd name="T10" fmla="*/ 41275 w 242"/>
                <a:gd name="T11" fmla="*/ 9378 h 65"/>
                <a:gd name="T12" fmla="*/ 38100 w 242"/>
                <a:gd name="T13" fmla="*/ 6252 h 65"/>
                <a:gd name="T14" fmla="*/ 27781 w 242"/>
                <a:gd name="T15" fmla="*/ 3126 h 65"/>
                <a:gd name="T16" fmla="*/ 27781 w 242"/>
                <a:gd name="T17" fmla="*/ 6252 h 65"/>
                <a:gd name="T18" fmla="*/ 20638 w 242"/>
                <a:gd name="T19" fmla="*/ 3126 h 65"/>
                <a:gd name="T20" fmla="*/ 10319 w 242"/>
                <a:gd name="T21" fmla="*/ 0 h 65"/>
                <a:gd name="T22" fmla="*/ 3969 w 242"/>
                <a:gd name="T23" fmla="*/ 0 h 65"/>
                <a:gd name="T24" fmla="*/ 0 w 242"/>
                <a:gd name="T25" fmla="*/ 3126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2"/>
                <a:gd name="T40" fmla="*/ 0 h 65"/>
                <a:gd name="T41" fmla="*/ 242 w 242"/>
                <a:gd name="T42" fmla="*/ 65 h 6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2" h="65">
                  <a:moveTo>
                    <a:pt x="0" y="17"/>
                  </a:moveTo>
                  <a:lnTo>
                    <a:pt x="0" y="17"/>
                  </a:lnTo>
                  <a:lnTo>
                    <a:pt x="70" y="48"/>
                  </a:lnTo>
                  <a:lnTo>
                    <a:pt x="242" y="65"/>
                  </a:lnTo>
                  <a:lnTo>
                    <a:pt x="242" y="48"/>
                  </a:lnTo>
                  <a:lnTo>
                    <a:pt x="208" y="48"/>
                  </a:lnTo>
                  <a:lnTo>
                    <a:pt x="191" y="33"/>
                  </a:lnTo>
                  <a:lnTo>
                    <a:pt x="139" y="17"/>
                  </a:lnTo>
                  <a:lnTo>
                    <a:pt x="139" y="33"/>
                  </a:lnTo>
                  <a:lnTo>
                    <a:pt x="104" y="17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4" name="Freeform 135">
              <a:extLst>
                <a:ext uri="{FF2B5EF4-FFF2-40B4-BE49-F238E27FC236}">
                  <a16:creationId xmlns:a16="http://schemas.microsoft.com/office/drawing/2014/main" id="{A1FA287D-1FF8-4A71-B7A0-F01C9A9AC2FB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7197724" y="4808538"/>
              <a:ext cx="28575" cy="0"/>
            </a:xfrm>
            <a:custGeom>
              <a:avLst/>
              <a:gdLst>
                <a:gd name="T0" fmla="*/ 0 w 37"/>
                <a:gd name="T1" fmla="*/ 0 w 37"/>
                <a:gd name="T2" fmla="*/ 3089 w 37"/>
                <a:gd name="T3" fmla="*/ 6951 w 37"/>
                <a:gd name="T4" fmla="*/ 0 w 37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7"/>
                <a:gd name="T11" fmla="*/ 37 w 37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7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5" name="Freeform 136">
              <a:extLst>
                <a:ext uri="{FF2B5EF4-FFF2-40B4-BE49-F238E27FC236}">
                  <a16:creationId xmlns:a16="http://schemas.microsoft.com/office/drawing/2014/main" id="{549C4078-E59E-41AB-B1D1-3C85D2C6CD94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7005637" y="4668838"/>
              <a:ext cx="28575" cy="38100"/>
            </a:xfrm>
            <a:custGeom>
              <a:avLst/>
              <a:gdLst>
                <a:gd name="T0" fmla="*/ 0 w 35"/>
                <a:gd name="T1" fmla="*/ 2381 h 48"/>
                <a:gd name="T2" fmla="*/ 0 w 35"/>
                <a:gd name="T3" fmla="*/ 2381 h 48"/>
                <a:gd name="T4" fmla="*/ 4082 w 35"/>
                <a:gd name="T5" fmla="*/ 6350 h 48"/>
                <a:gd name="T6" fmla="*/ 7348 w 35"/>
                <a:gd name="T7" fmla="*/ 9525 h 48"/>
                <a:gd name="T8" fmla="*/ 7348 w 35"/>
                <a:gd name="T9" fmla="*/ 6350 h 48"/>
                <a:gd name="T10" fmla="*/ 4082 w 35"/>
                <a:gd name="T11" fmla="*/ 0 h 48"/>
                <a:gd name="T12" fmla="*/ 0 w 35"/>
                <a:gd name="T13" fmla="*/ 2381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0" y="15"/>
                  </a:moveTo>
                  <a:lnTo>
                    <a:pt x="0" y="15"/>
                  </a:lnTo>
                  <a:lnTo>
                    <a:pt x="18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18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6" name="Freeform 137">
              <a:extLst>
                <a:ext uri="{FF2B5EF4-FFF2-40B4-BE49-F238E27FC236}">
                  <a16:creationId xmlns:a16="http://schemas.microsoft.com/office/drawing/2014/main" id="{39FBA731-C21A-49DA-851F-3D9DCC2C6D54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046912" y="4694238"/>
              <a:ext cx="14288" cy="12700"/>
            </a:xfrm>
            <a:custGeom>
              <a:avLst/>
              <a:gdLst>
                <a:gd name="T0" fmla="*/ 0 w 18"/>
                <a:gd name="T1" fmla="*/ 3175 h 16"/>
                <a:gd name="T2" fmla="*/ 0 w 18"/>
                <a:gd name="T3" fmla="*/ 3175 h 16"/>
                <a:gd name="T4" fmla="*/ 3969 w 18"/>
                <a:gd name="T5" fmla="*/ 3175 h 16"/>
                <a:gd name="T6" fmla="*/ 3969 w 18"/>
                <a:gd name="T7" fmla="*/ 0 h 16"/>
                <a:gd name="T8" fmla="*/ 0 w 18"/>
                <a:gd name="T9" fmla="*/ 0 h 16"/>
                <a:gd name="T10" fmla="*/ 0 w 18"/>
                <a:gd name="T11" fmla="*/ 3175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6"/>
                <a:gd name="T20" fmla="*/ 18 w 18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6">
                  <a:moveTo>
                    <a:pt x="0" y="16"/>
                  </a:moveTo>
                  <a:lnTo>
                    <a:pt x="0" y="16"/>
                  </a:lnTo>
                  <a:lnTo>
                    <a:pt x="18" y="1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7" name="Freeform 138">
              <a:extLst>
                <a:ext uri="{FF2B5EF4-FFF2-40B4-BE49-F238E27FC236}">
                  <a16:creationId xmlns:a16="http://schemas.microsoft.com/office/drawing/2014/main" id="{2B14402D-00D2-456B-9C6C-AF980F73D1D6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7321549" y="4262438"/>
              <a:ext cx="82550" cy="114300"/>
            </a:xfrm>
            <a:custGeom>
              <a:avLst/>
              <a:gdLst>
                <a:gd name="T0" fmla="*/ 0 w 104"/>
                <a:gd name="T1" fmla="*/ 13588 h 143"/>
                <a:gd name="T2" fmla="*/ 0 w 104"/>
                <a:gd name="T3" fmla="*/ 13588 h 143"/>
                <a:gd name="T4" fmla="*/ 0 w 104"/>
                <a:gd name="T5" fmla="*/ 19183 h 143"/>
                <a:gd name="T6" fmla="*/ 3969 w 104"/>
                <a:gd name="T7" fmla="*/ 23180 h 143"/>
                <a:gd name="T8" fmla="*/ 3969 w 104"/>
                <a:gd name="T9" fmla="*/ 25578 h 143"/>
                <a:gd name="T10" fmla="*/ 7144 w 104"/>
                <a:gd name="T11" fmla="*/ 25578 h 143"/>
                <a:gd name="T12" fmla="*/ 10319 w 104"/>
                <a:gd name="T13" fmla="*/ 25578 h 143"/>
                <a:gd name="T14" fmla="*/ 14288 w 104"/>
                <a:gd name="T15" fmla="*/ 28775 h 143"/>
                <a:gd name="T16" fmla="*/ 14288 w 104"/>
                <a:gd name="T17" fmla="*/ 25578 h 143"/>
                <a:gd name="T18" fmla="*/ 17463 w 104"/>
                <a:gd name="T19" fmla="*/ 28775 h 143"/>
                <a:gd name="T20" fmla="*/ 20638 w 104"/>
                <a:gd name="T21" fmla="*/ 28775 h 143"/>
                <a:gd name="T22" fmla="*/ 17463 w 104"/>
                <a:gd name="T23" fmla="*/ 25578 h 143"/>
                <a:gd name="T24" fmla="*/ 20638 w 104"/>
                <a:gd name="T25" fmla="*/ 25578 h 143"/>
                <a:gd name="T26" fmla="*/ 14288 w 104"/>
                <a:gd name="T27" fmla="*/ 23180 h 143"/>
                <a:gd name="T28" fmla="*/ 10319 w 104"/>
                <a:gd name="T29" fmla="*/ 25578 h 143"/>
                <a:gd name="T30" fmla="*/ 7144 w 104"/>
                <a:gd name="T31" fmla="*/ 19183 h 143"/>
                <a:gd name="T32" fmla="*/ 14288 w 104"/>
                <a:gd name="T33" fmla="*/ 9592 h 143"/>
                <a:gd name="T34" fmla="*/ 10319 w 104"/>
                <a:gd name="T35" fmla="*/ 6394 h 143"/>
                <a:gd name="T36" fmla="*/ 14288 w 104"/>
                <a:gd name="T37" fmla="*/ 0 h 143"/>
                <a:gd name="T38" fmla="*/ 10319 w 104"/>
                <a:gd name="T39" fmla="*/ 3997 h 143"/>
                <a:gd name="T40" fmla="*/ 3969 w 104"/>
                <a:gd name="T41" fmla="*/ 0 h 143"/>
                <a:gd name="T42" fmla="*/ 0 w 104"/>
                <a:gd name="T43" fmla="*/ 13588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8" name="Freeform 139">
              <a:extLst>
                <a:ext uri="{FF2B5EF4-FFF2-40B4-BE49-F238E27FC236}">
                  <a16:creationId xmlns:a16="http://schemas.microsoft.com/office/drawing/2014/main" id="{AD7B0E3C-DDF3-4AC2-BDEB-828F063E1534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254874" y="4414838"/>
              <a:ext cx="53975" cy="63500"/>
            </a:xfrm>
            <a:custGeom>
              <a:avLst/>
              <a:gdLst>
                <a:gd name="T0" fmla="*/ 0 w 69"/>
                <a:gd name="T1" fmla="*/ 15679 h 81"/>
                <a:gd name="T2" fmla="*/ 0 w 69"/>
                <a:gd name="T3" fmla="*/ 15679 h 81"/>
                <a:gd name="T4" fmla="*/ 13298 w 69"/>
                <a:gd name="T5" fmla="*/ 3136 h 81"/>
                <a:gd name="T6" fmla="*/ 13298 w 69"/>
                <a:gd name="T7" fmla="*/ 0 h 81"/>
                <a:gd name="T8" fmla="*/ 0 w 69"/>
                <a:gd name="T9" fmla="*/ 15679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81"/>
                <a:gd name="T17" fmla="*/ 69 w 69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81">
                  <a:moveTo>
                    <a:pt x="0" y="81"/>
                  </a:moveTo>
                  <a:lnTo>
                    <a:pt x="0" y="81"/>
                  </a:lnTo>
                  <a:lnTo>
                    <a:pt x="69" y="18"/>
                  </a:lnTo>
                  <a:lnTo>
                    <a:pt x="69" y="0"/>
                  </a:lnTo>
                  <a:lnTo>
                    <a:pt x="0" y="81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79" name="Freeform 140">
              <a:extLst>
                <a:ext uri="{FF2B5EF4-FFF2-40B4-BE49-F238E27FC236}">
                  <a16:creationId xmlns:a16="http://schemas.microsoft.com/office/drawing/2014/main" id="{9464AC68-1F18-48DB-945B-B6715D2BA073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321549" y="4376738"/>
              <a:ext cx="28575" cy="25400"/>
            </a:xfrm>
            <a:custGeom>
              <a:avLst/>
              <a:gdLst>
                <a:gd name="T0" fmla="*/ 0 w 36"/>
                <a:gd name="T1" fmla="*/ 0 h 33"/>
                <a:gd name="T2" fmla="*/ 0 w 36"/>
                <a:gd name="T3" fmla="*/ 0 h 33"/>
                <a:gd name="T4" fmla="*/ 7144 w 36"/>
                <a:gd name="T5" fmla="*/ 6158 h 33"/>
                <a:gd name="T6" fmla="*/ 7144 w 36"/>
                <a:gd name="T7" fmla="*/ 3079 h 33"/>
                <a:gd name="T8" fmla="*/ 7144 w 36"/>
                <a:gd name="T9" fmla="*/ 0 h 33"/>
                <a:gd name="T10" fmla="*/ 0 w 3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3"/>
                <a:gd name="T20" fmla="*/ 36 w 3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3">
                  <a:moveTo>
                    <a:pt x="0" y="0"/>
                  </a:moveTo>
                  <a:lnTo>
                    <a:pt x="0" y="0"/>
                  </a:lnTo>
                  <a:lnTo>
                    <a:pt x="36" y="33"/>
                  </a:lnTo>
                  <a:lnTo>
                    <a:pt x="36" y="18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0" name="Freeform 141">
              <a:extLst>
                <a:ext uri="{FF2B5EF4-FFF2-40B4-BE49-F238E27FC236}">
                  <a16:creationId xmlns:a16="http://schemas.microsoft.com/office/drawing/2014/main" id="{B4C77375-E817-4566-8D84-692533D899F6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7362824" y="4402138"/>
              <a:ext cx="55563" cy="63500"/>
            </a:xfrm>
            <a:custGeom>
              <a:avLst/>
              <a:gdLst>
                <a:gd name="T0" fmla="*/ 0 w 71"/>
                <a:gd name="T1" fmla="*/ 6272 h 81"/>
                <a:gd name="T2" fmla="*/ 0 w 71"/>
                <a:gd name="T3" fmla="*/ 6272 h 81"/>
                <a:gd name="T4" fmla="*/ 3130 w 71"/>
                <a:gd name="T5" fmla="*/ 6272 h 81"/>
                <a:gd name="T6" fmla="*/ 3130 w 71"/>
                <a:gd name="T7" fmla="*/ 9407 h 81"/>
                <a:gd name="T8" fmla="*/ 7043 w 71"/>
                <a:gd name="T9" fmla="*/ 15679 h 81"/>
                <a:gd name="T10" fmla="*/ 7043 w 71"/>
                <a:gd name="T11" fmla="*/ 11759 h 81"/>
                <a:gd name="T12" fmla="*/ 7043 w 71"/>
                <a:gd name="T13" fmla="*/ 9407 h 81"/>
                <a:gd name="T14" fmla="*/ 13304 w 71"/>
                <a:gd name="T15" fmla="*/ 11759 h 81"/>
                <a:gd name="T16" fmla="*/ 13304 w 71"/>
                <a:gd name="T17" fmla="*/ 9407 h 81"/>
                <a:gd name="T18" fmla="*/ 10174 w 71"/>
                <a:gd name="T19" fmla="*/ 9407 h 81"/>
                <a:gd name="T20" fmla="*/ 10174 w 71"/>
                <a:gd name="T21" fmla="*/ 2352 h 81"/>
                <a:gd name="T22" fmla="*/ 7043 w 71"/>
                <a:gd name="T23" fmla="*/ 6272 h 81"/>
                <a:gd name="T24" fmla="*/ 7043 w 71"/>
                <a:gd name="T25" fmla="*/ 2352 h 81"/>
                <a:gd name="T26" fmla="*/ 3130 w 71"/>
                <a:gd name="T27" fmla="*/ 0 h 81"/>
                <a:gd name="T28" fmla="*/ 0 w 71"/>
                <a:gd name="T29" fmla="*/ 0 h 81"/>
                <a:gd name="T30" fmla="*/ 0 w 71"/>
                <a:gd name="T31" fmla="*/ 6272 h 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1"/>
                <a:gd name="T49" fmla="*/ 0 h 81"/>
                <a:gd name="T50" fmla="*/ 71 w 71"/>
                <a:gd name="T51" fmla="*/ 81 h 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1" h="81">
                  <a:moveTo>
                    <a:pt x="0" y="33"/>
                  </a:moveTo>
                  <a:lnTo>
                    <a:pt x="0" y="33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36" y="81"/>
                  </a:lnTo>
                  <a:lnTo>
                    <a:pt x="36" y="63"/>
                  </a:lnTo>
                  <a:lnTo>
                    <a:pt x="36" y="48"/>
                  </a:lnTo>
                  <a:lnTo>
                    <a:pt x="71" y="63"/>
                  </a:lnTo>
                  <a:lnTo>
                    <a:pt x="71" y="48"/>
                  </a:lnTo>
                  <a:lnTo>
                    <a:pt x="53" y="48"/>
                  </a:lnTo>
                  <a:lnTo>
                    <a:pt x="53" y="15"/>
                  </a:lnTo>
                  <a:lnTo>
                    <a:pt x="36" y="33"/>
                  </a:lnTo>
                  <a:lnTo>
                    <a:pt x="36" y="1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1" name="Freeform 142">
              <a:extLst>
                <a:ext uri="{FF2B5EF4-FFF2-40B4-BE49-F238E27FC236}">
                  <a16:creationId xmlns:a16="http://schemas.microsoft.com/office/drawing/2014/main" id="{83B6C002-2AD5-414A-B755-FF4F1466B52E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7362824" y="4440238"/>
              <a:ext cx="96838" cy="88900"/>
            </a:xfrm>
            <a:custGeom>
              <a:avLst/>
              <a:gdLst>
                <a:gd name="T0" fmla="*/ 0 w 123"/>
                <a:gd name="T1" fmla="*/ 16819 h 111"/>
                <a:gd name="T2" fmla="*/ 0 w 123"/>
                <a:gd name="T3" fmla="*/ 16819 h 111"/>
                <a:gd name="T4" fmla="*/ 3149 w 123"/>
                <a:gd name="T5" fmla="*/ 12814 h 111"/>
                <a:gd name="T6" fmla="*/ 7086 w 123"/>
                <a:gd name="T7" fmla="*/ 12814 h 111"/>
                <a:gd name="T8" fmla="*/ 10235 w 123"/>
                <a:gd name="T9" fmla="*/ 12814 h 111"/>
                <a:gd name="T10" fmla="*/ 13384 w 123"/>
                <a:gd name="T11" fmla="*/ 12814 h 111"/>
                <a:gd name="T12" fmla="*/ 10235 w 123"/>
                <a:gd name="T13" fmla="*/ 19222 h 111"/>
                <a:gd name="T14" fmla="*/ 17321 w 123"/>
                <a:gd name="T15" fmla="*/ 22425 h 111"/>
                <a:gd name="T16" fmla="*/ 20470 w 123"/>
                <a:gd name="T17" fmla="*/ 19222 h 111"/>
                <a:gd name="T18" fmla="*/ 17321 w 123"/>
                <a:gd name="T19" fmla="*/ 16819 h 111"/>
                <a:gd name="T20" fmla="*/ 20470 w 123"/>
                <a:gd name="T21" fmla="*/ 12814 h 111"/>
                <a:gd name="T22" fmla="*/ 23619 w 123"/>
                <a:gd name="T23" fmla="*/ 19222 h 111"/>
                <a:gd name="T24" fmla="*/ 23619 w 123"/>
                <a:gd name="T25" fmla="*/ 12814 h 111"/>
                <a:gd name="T26" fmla="*/ 23619 w 123"/>
                <a:gd name="T27" fmla="*/ 7208 h 111"/>
                <a:gd name="T28" fmla="*/ 17321 w 123"/>
                <a:gd name="T29" fmla="*/ 0 h 111"/>
                <a:gd name="T30" fmla="*/ 17321 w 123"/>
                <a:gd name="T31" fmla="*/ 7208 h 111"/>
                <a:gd name="T32" fmla="*/ 13384 w 123"/>
                <a:gd name="T33" fmla="*/ 7208 h 111"/>
                <a:gd name="T34" fmla="*/ 10235 w 123"/>
                <a:gd name="T35" fmla="*/ 9611 h 111"/>
                <a:gd name="T36" fmla="*/ 7086 w 123"/>
                <a:gd name="T37" fmla="*/ 7208 h 111"/>
                <a:gd name="T38" fmla="*/ 0 w 123"/>
                <a:gd name="T39" fmla="*/ 12814 h 111"/>
                <a:gd name="T40" fmla="*/ 0 w 123"/>
                <a:gd name="T41" fmla="*/ 16819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3"/>
                <a:gd name="T64" fmla="*/ 0 h 111"/>
                <a:gd name="T65" fmla="*/ 123 w 123"/>
                <a:gd name="T66" fmla="*/ 111 h 1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3" h="111">
                  <a:moveTo>
                    <a:pt x="0" y="81"/>
                  </a:moveTo>
                  <a:lnTo>
                    <a:pt x="0" y="81"/>
                  </a:lnTo>
                  <a:lnTo>
                    <a:pt x="19" y="63"/>
                  </a:lnTo>
                  <a:lnTo>
                    <a:pt x="36" y="63"/>
                  </a:lnTo>
                  <a:lnTo>
                    <a:pt x="53" y="63"/>
                  </a:lnTo>
                  <a:lnTo>
                    <a:pt x="71" y="63"/>
                  </a:lnTo>
                  <a:lnTo>
                    <a:pt x="53" y="96"/>
                  </a:lnTo>
                  <a:lnTo>
                    <a:pt x="88" y="111"/>
                  </a:lnTo>
                  <a:lnTo>
                    <a:pt x="105" y="96"/>
                  </a:lnTo>
                  <a:lnTo>
                    <a:pt x="88" y="81"/>
                  </a:lnTo>
                  <a:lnTo>
                    <a:pt x="105" y="63"/>
                  </a:lnTo>
                  <a:lnTo>
                    <a:pt x="123" y="96"/>
                  </a:lnTo>
                  <a:lnTo>
                    <a:pt x="123" y="63"/>
                  </a:lnTo>
                  <a:lnTo>
                    <a:pt x="123" y="33"/>
                  </a:lnTo>
                  <a:lnTo>
                    <a:pt x="88" y="0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53" y="48"/>
                  </a:lnTo>
                  <a:lnTo>
                    <a:pt x="36" y="33"/>
                  </a:lnTo>
                  <a:lnTo>
                    <a:pt x="0" y="63"/>
                  </a:lnTo>
                  <a:lnTo>
                    <a:pt x="0" y="81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2" name="Line 143">
              <a:extLst>
                <a:ext uri="{FF2B5EF4-FFF2-40B4-BE49-F238E27FC236}">
                  <a16:creationId xmlns:a16="http://schemas.microsoft.com/office/drawing/2014/main" id="{F585D859-1B9B-42CD-B9C8-25F91C07CE92}"/>
                </a:ext>
              </a:extLst>
            </p:cNvPr>
            <p:cNvSpPr>
              <a:spLocks noChangeShapeType="1"/>
            </p:cNvSpPr>
            <p:nvPr>
              <p:custDataLst>
                <p:tags r:id="rId143"/>
              </p:custDataLst>
            </p:nvPr>
          </p:nvSpPr>
          <p:spPr bwMode="auto">
            <a:xfrm>
              <a:off x="6737349" y="4395788"/>
              <a:ext cx="0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3" name="Line 144">
              <a:extLst>
                <a:ext uri="{FF2B5EF4-FFF2-40B4-BE49-F238E27FC236}">
                  <a16:creationId xmlns:a16="http://schemas.microsoft.com/office/drawing/2014/main" id="{24EE1D9D-B9B1-45A9-A488-B4E3D44DFB95}"/>
                </a:ext>
              </a:extLst>
            </p:cNvPr>
            <p:cNvSpPr>
              <a:spLocks noChangeShapeType="1"/>
            </p:cNvSpPr>
            <p:nvPr>
              <p:custDataLst>
                <p:tags r:id="rId144"/>
              </p:custDataLst>
            </p:nvPr>
          </p:nvSpPr>
          <p:spPr bwMode="auto">
            <a:xfrm flipV="1">
              <a:off x="7494587" y="4090988"/>
              <a:ext cx="12700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4" name="Line 145">
              <a:extLst>
                <a:ext uri="{FF2B5EF4-FFF2-40B4-BE49-F238E27FC236}">
                  <a16:creationId xmlns:a16="http://schemas.microsoft.com/office/drawing/2014/main" id="{217455CE-7A61-4BB0-AD30-4275E959583C}"/>
                </a:ext>
              </a:extLst>
            </p:cNvPr>
            <p:cNvSpPr>
              <a:spLocks noChangeShapeType="1"/>
            </p:cNvSpPr>
            <p:nvPr>
              <p:custDataLst>
                <p:tags r:id="rId145"/>
              </p:custDataLst>
            </p:nvPr>
          </p:nvSpPr>
          <p:spPr bwMode="auto">
            <a:xfrm flipV="1">
              <a:off x="7527924" y="4059238"/>
              <a:ext cx="0" cy="254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5" name="Freeform 146">
              <a:extLst>
                <a:ext uri="{FF2B5EF4-FFF2-40B4-BE49-F238E27FC236}">
                  <a16:creationId xmlns:a16="http://schemas.microsoft.com/office/drawing/2014/main" id="{D699724D-7CA4-4764-B8D6-7CCF75A79668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418387" y="4389438"/>
              <a:ext cx="28575" cy="50800"/>
            </a:xfrm>
            <a:custGeom>
              <a:avLst/>
              <a:gdLst>
                <a:gd name="T0" fmla="*/ 0 w 34"/>
                <a:gd name="T1" fmla="*/ 0 h 63"/>
                <a:gd name="T2" fmla="*/ 0 w 34"/>
                <a:gd name="T3" fmla="*/ 0 h 63"/>
                <a:gd name="T4" fmla="*/ 4202 w 34"/>
                <a:gd name="T5" fmla="*/ 3225 h 63"/>
                <a:gd name="T6" fmla="*/ 0 w 34"/>
                <a:gd name="T7" fmla="*/ 6451 h 63"/>
                <a:gd name="T8" fmla="*/ 0 w 34"/>
                <a:gd name="T9" fmla="*/ 9676 h 63"/>
                <a:gd name="T10" fmla="*/ 0 w 34"/>
                <a:gd name="T11" fmla="*/ 12902 h 63"/>
                <a:gd name="T12" fmla="*/ 4202 w 34"/>
                <a:gd name="T13" fmla="*/ 12902 h 63"/>
                <a:gd name="T14" fmla="*/ 4202 w 34"/>
                <a:gd name="T15" fmla="*/ 6451 h 63"/>
                <a:gd name="T16" fmla="*/ 8404 w 34"/>
                <a:gd name="T17" fmla="*/ 6451 h 63"/>
                <a:gd name="T18" fmla="*/ 4202 w 34"/>
                <a:gd name="T19" fmla="*/ 3225 h 63"/>
                <a:gd name="T20" fmla="*/ 4202 w 34"/>
                <a:gd name="T21" fmla="*/ 0 h 63"/>
                <a:gd name="T22" fmla="*/ 0 w 34"/>
                <a:gd name="T23" fmla="*/ 0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63"/>
                <a:gd name="T38" fmla="*/ 34 w 34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63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0" y="63"/>
                  </a:lnTo>
                  <a:lnTo>
                    <a:pt x="17" y="63"/>
                  </a:lnTo>
                  <a:lnTo>
                    <a:pt x="17" y="30"/>
                  </a:lnTo>
                  <a:lnTo>
                    <a:pt x="34" y="30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6" name="Freeform 147">
              <a:extLst>
                <a:ext uri="{FF2B5EF4-FFF2-40B4-BE49-F238E27FC236}">
                  <a16:creationId xmlns:a16="http://schemas.microsoft.com/office/drawing/2014/main" id="{986088CE-28BC-4D17-932A-4CC015A093AD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6940549" y="4351338"/>
              <a:ext cx="104775" cy="74613"/>
            </a:xfrm>
            <a:custGeom>
              <a:avLst/>
              <a:gdLst>
                <a:gd name="T0" fmla="*/ 2922 w 251"/>
                <a:gd name="T1" fmla="*/ 5543 h 175"/>
                <a:gd name="T2" fmla="*/ 2922 w 251"/>
                <a:gd name="T3" fmla="*/ 5543 h 175"/>
                <a:gd name="T4" fmla="*/ 4592 w 251"/>
                <a:gd name="T5" fmla="*/ 4264 h 175"/>
                <a:gd name="T6" fmla="*/ 5427 w 251"/>
                <a:gd name="T7" fmla="*/ 3411 h 175"/>
                <a:gd name="T8" fmla="*/ 7096 w 251"/>
                <a:gd name="T9" fmla="*/ 2558 h 175"/>
                <a:gd name="T10" fmla="*/ 7096 w 251"/>
                <a:gd name="T11" fmla="*/ 0 h 175"/>
                <a:gd name="T12" fmla="*/ 5427 w 251"/>
                <a:gd name="T13" fmla="*/ 0 h 175"/>
                <a:gd name="T14" fmla="*/ 5427 w 251"/>
                <a:gd name="T15" fmla="*/ 853 h 175"/>
                <a:gd name="T16" fmla="*/ 4592 w 251"/>
                <a:gd name="T17" fmla="*/ 0 h 175"/>
                <a:gd name="T18" fmla="*/ 835 w 251"/>
                <a:gd name="T19" fmla="*/ 0 h 175"/>
                <a:gd name="T20" fmla="*/ 0 w 251"/>
                <a:gd name="T21" fmla="*/ 1705 h 175"/>
                <a:gd name="T22" fmla="*/ 835 w 251"/>
                <a:gd name="T23" fmla="*/ 3411 h 175"/>
                <a:gd name="T24" fmla="*/ 835 w 251"/>
                <a:gd name="T25" fmla="*/ 4264 h 175"/>
                <a:gd name="T26" fmla="*/ 835 w 251"/>
                <a:gd name="T27" fmla="*/ 5543 h 175"/>
                <a:gd name="T28" fmla="*/ 2922 w 251"/>
                <a:gd name="T29" fmla="*/ 5543 h 17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1"/>
                <a:gd name="T46" fmla="*/ 0 h 175"/>
                <a:gd name="T47" fmla="*/ 251 w 251"/>
                <a:gd name="T48" fmla="*/ 175 h 17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1" h="175">
                  <a:moveTo>
                    <a:pt x="94" y="175"/>
                  </a:moveTo>
                  <a:lnTo>
                    <a:pt x="94" y="175"/>
                  </a:lnTo>
                  <a:lnTo>
                    <a:pt x="157" y="146"/>
                  </a:lnTo>
                  <a:lnTo>
                    <a:pt x="188" y="117"/>
                  </a:lnTo>
                  <a:lnTo>
                    <a:pt x="251" y="89"/>
                  </a:lnTo>
                  <a:lnTo>
                    <a:pt x="251" y="0"/>
                  </a:lnTo>
                  <a:lnTo>
                    <a:pt x="188" y="0"/>
                  </a:lnTo>
                  <a:lnTo>
                    <a:pt x="188" y="31"/>
                  </a:lnTo>
                  <a:lnTo>
                    <a:pt x="157" y="0"/>
                  </a:lnTo>
                  <a:lnTo>
                    <a:pt x="30" y="0"/>
                  </a:lnTo>
                  <a:lnTo>
                    <a:pt x="0" y="60"/>
                  </a:lnTo>
                  <a:lnTo>
                    <a:pt x="30" y="117"/>
                  </a:lnTo>
                  <a:lnTo>
                    <a:pt x="30" y="146"/>
                  </a:lnTo>
                  <a:lnTo>
                    <a:pt x="30" y="175"/>
                  </a:lnTo>
                  <a:lnTo>
                    <a:pt x="94" y="17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7" name="Freeform 148">
              <a:extLst>
                <a:ext uri="{FF2B5EF4-FFF2-40B4-BE49-F238E27FC236}">
                  <a16:creationId xmlns:a16="http://schemas.microsoft.com/office/drawing/2014/main" id="{768779A0-5F22-4FD2-8BB0-A01DF9C5F032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6619874" y="4097338"/>
              <a:ext cx="111125" cy="114300"/>
            </a:xfrm>
            <a:custGeom>
              <a:avLst/>
              <a:gdLst>
                <a:gd name="T0" fmla="*/ 27781 w 140"/>
                <a:gd name="T1" fmla="*/ 26194 h 144"/>
                <a:gd name="T2" fmla="*/ 27781 w 140"/>
                <a:gd name="T3" fmla="*/ 26194 h 144"/>
                <a:gd name="T4" fmla="*/ 23812 w 140"/>
                <a:gd name="T5" fmla="*/ 15875 h 144"/>
                <a:gd name="T6" fmla="*/ 23812 w 140"/>
                <a:gd name="T7" fmla="*/ 12700 h 144"/>
                <a:gd name="T8" fmla="*/ 20637 w 140"/>
                <a:gd name="T9" fmla="*/ 15875 h 144"/>
                <a:gd name="T10" fmla="*/ 17462 w 140"/>
                <a:gd name="T11" fmla="*/ 15875 h 144"/>
                <a:gd name="T12" fmla="*/ 17462 w 140"/>
                <a:gd name="T13" fmla="*/ 12700 h 144"/>
                <a:gd name="T14" fmla="*/ 23812 w 140"/>
                <a:gd name="T15" fmla="*/ 7144 h 144"/>
                <a:gd name="T16" fmla="*/ 10319 w 140"/>
                <a:gd name="T17" fmla="*/ 7144 h 144"/>
                <a:gd name="T18" fmla="*/ 10319 w 140"/>
                <a:gd name="T19" fmla="*/ 0 h 144"/>
                <a:gd name="T20" fmla="*/ 7144 w 140"/>
                <a:gd name="T21" fmla="*/ 0 h 144"/>
                <a:gd name="T22" fmla="*/ 3175 w 140"/>
                <a:gd name="T23" fmla="*/ 0 h 144"/>
                <a:gd name="T24" fmla="*/ 3175 w 140"/>
                <a:gd name="T25" fmla="*/ 3175 h 144"/>
                <a:gd name="T26" fmla="*/ 0 w 140"/>
                <a:gd name="T27" fmla="*/ 9525 h 144"/>
                <a:gd name="T28" fmla="*/ 3175 w 140"/>
                <a:gd name="T29" fmla="*/ 9525 h 144"/>
                <a:gd name="T30" fmla="*/ 7144 w 140"/>
                <a:gd name="T31" fmla="*/ 26194 h 144"/>
                <a:gd name="T32" fmla="*/ 14287 w 140"/>
                <a:gd name="T33" fmla="*/ 26194 h 144"/>
                <a:gd name="T34" fmla="*/ 20637 w 140"/>
                <a:gd name="T35" fmla="*/ 19050 h 144"/>
                <a:gd name="T36" fmla="*/ 23812 w 140"/>
                <a:gd name="T37" fmla="*/ 28575 h 144"/>
                <a:gd name="T38" fmla="*/ 27781 w 140"/>
                <a:gd name="T39" fmla="*/ 26194 h 1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0"/>
                <a:gd name="T61" fmla="*/ 0 h 144"/>
                <a:gd name="T62" fmla="*/ 140 w 140"/>
                <a:gd name="T63" fmla="*/ 144 h 1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0" h="144">
                  <a:moveTo>
                    <a:pt x="140" y="129"/>
                  </a:moveTo>
                  <a:lnTo>
                    <a:pt x="140" y="129"/>
                  </a:lnTo>
                  <a:lnTo>
                    <a:pt x="123" y="81"/>
                  </a:lnTo>
                  <a:lnTo>
                    <a:pt x="123" y="64"/>
                  </a:lnTo>
                  <a:lnTo>
                    <a:pt x="105" y="81"/>
                  </a:lnTo>
                  <a:lnTo>
                    <a:pt x="88" y="81"/>
                  </a:lnTo>
                  <a:lnTo>
                    <a:pt x="88" y="64"/>
                  </a:lnTo>
                  <a:lnTo>
                    <a:pt x="123" y="33"/>
                  </a:lnTo>
                  <a:lnTo>
                    <a:pt x="52" y="33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48"/>
                  </a:lnTo>
                  <a:lnTo>
                    <a:pt x="17" y="48"/>
                  </a:lnTo>
                  <a:lnTo>
                    <a:pt x="34" y="129"/>
                  </a:lnTo>
                  <a:lnTo>
                    <a:pt x="69" y="129"/>
                  </a:lnTo>
                  <a:lnTo>
                    <a:pt x="105" y="96"/>
                  </a:lnTo>
                  <a:lnTo>
                    <a:pt x="123" y="144"/>
                  </a:lnTo>
                  <a:lnTo>
                    <a:pt x="140" y="12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8" name="Freeform 149">
              <a:extLst>
                <a:ext uri="{FF2B5EF4-FFF2-40B4-BE49-F238E27FC236}">
                  <a16:creationId xmlns:a16="http://schemas.microsoft.com/office/drawing/2014/main" id="{54EEA7F4-DA87-451A-B745-465A1A808796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6718299" y="4059238"/>
              <a:ext cx="190500" cy="393700"/>
            </a:xfrm>
            <a:custGeom>
              <a:avLst/>
              <a:gdLst>
                <a:gd name="T0" fmla="*/ 34131 w 240"/>
                <a:gd name="T1" fmla="*/ 98624 h 495"/>
                <a:gd name="T2" fmla="*/ 34131 w 240"/>
                <a:gd name="T3" fmla="*/ 98624 h 495"/>
                <a:gd name="T4" fmla="*/ 41275 w 240"/>
                <a:gd name="T5" fmla="*/ 85898 h 495"/>
                <a:gd name="T6" fmla="*/ 38100 w 240"/>
                <a:gd name="T7" fmla="*/ 76354 h 495"/>
                <a:gd name="T8" fmla="*/ 34131 w 240"/>
                <a:gd name="T9" fmla="*/ 69991 h 495"/>
                <a:gd name="T10" fmla="*/ 34131 w 240"/>
                <a:gd name="T11" fmla="*/ 64424 h 495"/>
                <a:gd name="T12" fmla="*/ 30956 w 240"/>
                <a:gd name="T13" fmla="*/ 54879 h 495"/>
                <a:gd name="T14" fmla="*/ 30956 w 240"/>
                <a:gd name="T15" fmla="*/ 47721 h 495"/>
                <a:gd name="T16" fmla="*/ 44450 w 240"/>
                <a:gd name="T17" fmla="*/ 41358 h 495"/>
                <a:gd name="T18" fmla="*/ 47625 w 240"/>
                <a:gd name="T19" fmla="*/ 35791 h 495"/>
                <a:gd name="T20" fmla="*/ 44450 w 240"/>
                <a:gd name="T21" fmla="*/ 35791 h 495"/>
                <a:gd name="T22" fmla="*/ 38100 w 240"/>
                <a:gd name="T23" fmla="*/ 31814 h 495"/>
                <a:gd name="T24" fmla="*/ 38100 w 240"/>
                <a:gd name="T25" fmla="*/ 28633 h 495"/>
                <a:gd name="T26" fmla="*/ 38100 w 240"/>
                <a:gd name="T27" fmla="*/ 26247 h 495"/>
                <a:gd name="T28" fmla="*/ 34131 w 240"/>
                <a:gd name="T29" fmla="*/ 22270 h 495"/>
                <a:gd name="T30" fmla="*/ 30956 w 240"/>
                <a:gd name="T31" fmla="*/ 22270 h 495"/>
                <a:gd name="T32" fmla="*/ 34131 w 240"/>
                <a:gd name="T33" fmla="*/ 7158 h 495"/>
                <a:gd name="T34" fmla="*/ 30956 w 240"/>
                <a:gd name="T35" fmla="*/ 0 h 495"/>
                <a:gd name="T36" fmla="*/ 27781 w 240"/>
                <a:gd name="T37" fmla="*/ 0 h 495"/>
                <a:gd name="T38" fmla="*/ 27781 w 240"/>
                <a:gd name="T39" fmla="*/ 7158 h 495"/>
                <a:gd name="T40" fmla="*/ 20638 w 240"/>
                <a:gd name="T41" fmla="*/ 7158 h 495"/>
                <a:gd name="T42" fmla="*/ 17463 w 240"/>
                <a:gd name="T43" fmla="*/ 9544 h 495"/>
                <a:gd name="T44" fmla="*/ 10319 w 240"/>
                <a:gd name="T45" fmla="*/ 22270 h 495"/>
                <a:gd name="T46" fmla="*/ 7144 w 240"/>
                <a:gd name="T47" fmla="*/ 26247 h 495"/>
                <a:gd name="T48" fmla="*/ 3969 w 240"/>
                <a:gd name="T49" fmla="*/ 31814 h 495"/>
                <a:gd name="T50" fmla="*/ 3969 w 240"/>
                <a:gd name="T51" fmla="*/ 35791 h 495"/>
                <a:gd name="T52" fmla="*/ 0 w 240"/>
                <a:gd name="T53" fmla="*/ 38177 h 495"/>
                <a:gd name="T54" fmla="*/ 7144 w 240"/>
                <a:gd name="T55" fmla="*/ 45335 h 495"/>
                <a:gd name="T56" fmla="*/ 10319 w 240"/>
                <a:gd name="T57" fmla="*/ 50903 h 495"/>
                <a:gd name="T58" fmla="*/ 14288 w 240"/>
                <a:gd name="T59" fmla="*/ 60447 h 495"/>
                <a:gd name="T60" fmla="*/ 10319 w 240"/>
                <a:gd name="T61" fmla="*/ 64424 h 495"/>
                <a:gd name="T62" fmla="*/ 17463 w 240"/>
                <a:gd name="T63" fmla="*/ 66810 h 495"/>
                <a:gd name="T64" fmla="*/ 23813 w 240"/>
                <a:gd name="T65" fmla="*/ 60447 h 495"/>
                <a:gd name="T66" fmla="*/ 27781 w 240"/>
                <a:gd name="T67" fmla="*/ 64424 h 495"/>
                <a:gd name="T68" fmla="*/ 34131 w 240"/>
                <a:gd name="T69" fmla="*/ 83512 h 495"/>
                <a:gd name="T70" fmla="*/ 34131 w 240"/>
                <a:gd name="T71" fmla="*/ 98624 h 49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0"/>
                <a:gd name="T109" fmla="*/ 0 h 495"/>
                <a:gd name="T110" fmla="*/ 240 w 240"/>
                <a:gd name="T111" fmla="*/ 495 h 49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0" h="495">
                  <a:moveTo>
                    <a:pt x="172" y="495"/>
                  </a:moveTo>
                  <a:lnTo>
                    <a:pt x="172" y="495"/>
                  </a:lnTo>
                  <a:lnTo>
                    <a:pt x="205" y="432"/>
                  </a:lnTo>
                  <a:lnTo>
                    <a:pt x="190" y="384"/>
                  </a:lnTo>
                  <a:lnTo>
                    <a:pt x="172" y="351"/>
                  </a:lnTo>
                  <a:lnTo>
                    <a:pt x="172" y="321"/>
                  </a:lnTo>
                  <a:lnTo>
                    <a:pt x="155" y="273"/>
                  </a:lnTo>
                  <a:lnTo>
                    <a:pt x="155" y="240"/>
                  </a:lnTo>
                  <a:lnTo>
                    <a:pt x="222" y="208"/>
                  </a:lnTo>
                  <a:lnTo>
                    <a:pt x="240" y="177"/>
                  </a:lnTo>
                  <a:lnTo>
                    <a:pt x="222" y="177"/>
                  </a:lnTo>
                  <a:lnTo>
                    <a:pt x="190" y="160"/>
                  </a:lnTo>
                  <a:lnTo>
                    <a:pt x="190" y="144"/>
                  </a:lnTo>
                  <a:lnTo>
                    <a:pt x="190" y="129"/>
                  </a:lnTo>
                  <a:lnTo>
                    <a:pt x="172" y="112"/>
                  </a:lnTo>
                  <a:lnTo>
                    <a:pt x="155" y="112"/>
                  </a:lnTo>
                  <a:lnTo>
                    <a:pt x="172" y="33"/>
                  </a:lnTo>
                  <a:lnTo>
                    <a:pt x="155" y="0"/>
                  </a:lnTo>
                  <a:lnTo>
                    <a:pt x="138" y="0"/>
                  </a:lnTo>
                  <a:lnTo>
                    <a:pt x="138" y="33"/>
                  </a:lnTo>
                  <a:lnTo>
                    <a:pt x="103" y="33"/>
                  </a:lnTo>
                  <a:lnTo>
                    <a:pt x="86" y="48"/>
                  </a:lnTo>
                  <a:lnTo>
                    <a:pt x="51" y="112"/>
                  </a:lnTo>
                  <a:lnTo>
                    <a:pt x="34" y="129"/>
                  </a:lnTo>
                  <a:lnTo>
                    <a:pt x="17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34" y="225"/>
                  </a:lnTo>
                  <a:lnTo>
                    <a:pt x="51" y="256"/>
                  </a:lnTo>
                  <a:lnTo>
                    <a:pt x="69" y="304"/>
                  </a:lnTo>
                  <a:lnTo>
                    <a:pt x="51" y="321"/>
                  </a:lnTo>
                  <a:lnTo>
                    <a:pt x="86" y="336"/>
                  </a:lnTo>
                  <a:lnTo>
                    <a:pt x="121" y="304"/>
                  </a:lnTo>
                  <a:lnTo>
                    <a:pt x="138" y="321"/>
                  </a:lnTo>
                  <a:lnTo>
                    <a:pt x="172" y="417"/>
                  </a:lnTo>
                  <a:lnTo>
                    <a:pt x="172" y="49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89" name="Freeform 150">
              <a:extLst>
                <a:ext uri="{FF2B5EF4-FFF2-40B4-BE49-F238E27FC236}">
                  <a16:creationId xmlns:a16="http://schemas.microsoft.com/office/drawing/2014/main" id="{4F51890B-7E49-481E-9646-388F39BC8AA8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6896099" y="4186238"/>
              <a:ext cx="150813" cy="177800"/>
            </a:xfrm>
            <a:custGeom>
              <a:avLst/>
              <a:gdLst>
                <a:gd name="T0" fmla="*/ 38100 w 190"/>
                <a:gd name="T1" fmla="*/ 42069 h 224"/>
                <a:gd name="T2" fmla="*/ 38100 w 190"/>
                <a:gd name="T3" fmla="*/ 42069 h 224"/>
                <a:gd name="T4" fmla="*/ 38100 w 190"/>
                <a:gd name="T5" fmla="*/ 34925 h 224"/>
                <a:gd name="T6" fmla="*/ 30956 w 190"/>
                <a:gd name="T7" fmla="*/ 28575 h 224"/>
                <a:gd name="T8" fmla="*/ 30956 w 190"/>
                <a:gd name="T9" fmla="*/ 25400 h 224"/>
                <a:gd name="T10" fmla="*/ 17463 w 190"/>
                <a:gd name="T11" fmla="*/ 15875 h 224"/>
                <a:gd name="T12" fmla="*/ 23813 w 190"/>
                <a:gd name="T13" fmla="*/ 13494 h 224"/>
                <a:gd name="T14" fmla="*/ 20638 w 190"/>
                <a:gd name="T15" fmla="*/ 9525 h 224"/>
                <a:gd name="T16" fmla="*/ 14288 w 190"/>
                <a:gd name="T17" fmla="*/ 6350 h 224"/>
                <a:gd name="T18" fmla="*/ 10319 w 190"/>
                <a:gd name="T19" fmla="*/ 0 h 224"/>
                <a:gd name="T20" fmla="*/ 7144 w 190"/>
                <a:gd name="T21" fmla="*/ 0 h 224"/>
                <a:gd name="T22" fmla="*/ 7144 w 190"/>
                <a:gd name="T23" fmla="*/ 6350 h 224"/>
                <a:gd name="T24" fmla="*/ 3969 w 190"/>
                <a:gd name="T25" fmla="*/ 6350 h 224"/>
                <a:gd name="T26" fmla="*/ 3969 w 190"/>
                <a:gd name="T27" fmla="*/ 3969 h 224"/>
                <a:gd name="T28" fmla="*/ 0 w 190"/>
                <a:gd name="T29" fmla="*/ 9525 h 224"/>
                <a:gd name="T30" fmla="*/ 0 w 190"/>
                <a:gd name="T31" fmla="*/ 13494 h 224"/>
                <a:gd name="T32" fmla="*/ 3969 w 190"/>
                <a:gd name="T33" fmla="*/ 15875 h 224"/>
                <a:gd name="T34" fmla="*/ 3969 w 190"/>
                <a:gd name="T35" fmla="*/ 25400 h 224"/>
                <a:gd name="T36" fmla="*/ 10319 w 190"/>
                <a:gd name="T37" fmla="*/ 22225 h 224"/>
                <a:gd name="T38" fmla="*/ 17463 w 190"/>
                <a:gd name="T39" fmla="*/ 19050 h 224"/>
                <a:gd name="T40" fmla="*/ 20638 w 190"/>
                <a:gd name="T41" fmla="*/ 25400 h 224"/>
                <a:gd name="T42" fmla="*/ 23813 w 190"/>
                <a:gd name="T43" fmla="*/ 32544 h 224"/>
                <a:gd name="T44" fmla="*/ 27781 w 190"/>
                <a:gd name="T45" fmla="*/ 34925 h 224"/>
                <a:gd name="T46" fmla="*/ 27781 w 190"/>
                <a:gd name="T47" fmla="*/ 42069 h 224"/>
                <a:gd name="T48" fmla="*/ 30956 w 190"/>
                <a:gd name="T49" fmla="*/ 44450 h 224"/>
                <a:gd name="T50" fmla="*/ 30956 w 190"/>
                <a:gd name="T51" fmla="*/ 42069 h 224"/>
                <a:gd name="T52" fmla="*/ 38100 w 190"/>
                <a:gd name="T53" fmla="*/ 42069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224"/>
                <a:gd name="T83" fmla="*/ 190 w 190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224">
                  <a:moveTo>
                    <a:pt x="190" y="209"/>
                  </a:moveTo>
                  <a:lnTo>
                    <a:pt x="190" y="209"/>
                  </a:lnTo>
                  <a:lnTo>
                    <a:pt x="190" y="176"/>
                  </a:lnTo>
                  <a:lnTo>
                    <a:pt x="156" y="144"/>
                  </a:lnTo>
                  <a:lnTo>
                    <a:pt x="156" y="128"/>
                  </a:lnTo>
                  <a:lnTo>
                    <a:pt x="87" y="80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69" y="32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32"/>
                  </a:lnTo>
                  <a:lnTo>
                    <a:pt x="18" y="32"/>
                  </a:lnTo>
                  <a:lnTo>
                    <a:pt x="18" y="17"/>
                  </a:lnTo>
                  <a:lnTo>
                    <a:pt x="0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18" y="128"/>
                  </a:lnTo>
                  <a:lnTo>
                    <a:pt x="52" y="113"/>
                  </a:lnTo>
                  <a:lnTo>
                    <a:pt x="87" y="96"/>
                  </a:lnTo>
                  <a:lnTo>
                    <a:pt x="104" y="128"/>
                  </a:lnTo>
                  <a:lnTo>
                    <a:pt x="121" y="161"/>
                  </a:lnTo>
                  <a:lnTo>
                    <a:pt x="138" y="176"/>
                  </a:lnTo>
                  <a:lnTo>
                    <a:pt x="138" y="209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90" y="20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0" name="Freeform 151">
              <a:extLst>
                <a:ext uri="{FF2B5EF4-FFF2-40B4-BE49-F238E27FC236}">
                  <a16:creationId xmlns:a16="http://schemas.microsoft.com/office/drawing/2014/main" id="{08F5A571-A7AB-43BB-9C3A-9689555921B9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6937374" y="4173538"/>
              <a:ext cx="150813" cy="292100"/>
            </a:xfrm>
            <a:custGeom>
              <a:avLst/>
              <a:gdLst>
                <a:gd name="T0" fmla="*/ 0 w 190"/>
                <a:gd name="T1" fmla="*/ 3166 h 369"/>
                <a:gd name="T2" fmla="*/ 0 w 190"/>
                <a:gd name="T3" fmla="*/ 3166 h 369"/>
                <a:gd name="T4" fmla="*/ 0 w 190"/>
                <a:gd name="T5" fmla="*/ 0 h 369"/>
                <a:gd name="T6" fmla="*/ 3969 w 190"/>
                <a:gd name="T7" fmla="*/ 3166 h 369"/>
                <a:gd name="T8" fmla="*/ 17463 w 190"/>
                <a:gd name="T9" fmla="*/ 0 h 369"/>
                <a:gd name="T10" fmla="*/ 23813 w 190"/>
                <a:gd name="T11" fmla="*/ 0 h 369"/>
                <a:gd name="T12" fmla="*/ 23813 w 190"/>
                <a:gd name="T13" fmla="*/ 6333 h 369"/>
                <a:gd name="T14" fmla="*/ 30956 w 190"/>
                <a:gd name="T15" fmla="*/ 6333 h 369"/>
                <a:gd name="T16" fmla="*/ 23813 w 190"/>
                <a:gd name="T17" fmla="*/ 9499 h 369"/>
                <a:gd name="T18" fmla="*/ 20638 w 190"/>
                <a:gd name="T19" fmla="*/ 15832 h 369"/>
                <a:gd name="T20" fmla="*/ 17463 w 190"/>
                <a:gd name="T21" fmla="*/ 18998 h 369"/>
                <a:gd name="T22" fmla="*/ 34925 w 190"/>
                <a:gd name="T23" fmla="*/ 40372 h 369"/>
                <a:gd name="T24" fmla="*/ 38100 w 190"/>
                <a:gd name="T25" fmla="*/ 47496 h 369"/>
                <a:gd name="T26" fmla="*/ 34925 w 190"/>
                <a:gd name="T27" fmla="*/ 59370 h 369"/>
                <a:gd name="T28" fmla="*/ 27781 w 190"/>
                <a:gd name="T29" fmla="*/ 63328 h 369"/>
                <a:gd name="T30" fmla="*/ 23813 w 190"/>
                <a:gd name="T31" fmla="*/ 63328 h 369"/>
                <a:gd name="T32" fmla="*/ 20638 w 190"/>
                <a:gd name="T33" fmla="*/ 68869 h 369"/>
                <a:gd name="T34" fmla="*/ 14288 w 190"/>
                <a:gd name="T35" fmla="*/ 72827 h 369"/>
                <a:gd name="T36" fmla="*/ 14288 w 190"/>
                <a:gd name="T37" fmla="*/ 66494 h 369"/>
                <a:gd name="T38" fmla="*/ 10319 w 190"/>
                <a:gd name="T39" fmla="*/ 63328 h 369"/>
                <a:gd name="T40" fmla="*/ 17463 w 190"/>
                <a:gd name="T41" fmla="*/ 59370 h 369"/>
                <a:gd name="T42" fmla="*/ 20638 w 190"/>
                <a:gd name="T43" fmla="*/ 56995 h 369"/>
                <a:gd name="T44" fmla="*/ 27781 w 190"/>
                <a:gd name="T45" fmla="*/ 53829 h 369"/>
                <a:gd name="T46" fmla="*/ 27781 w 190"/>
                <a:gd name="T47" fmla="*/ 44330 h 369"/>
                <a:gd name="T48" fmla="*/ 27781 w 190"/>
                <a:gd name="T49" fmla="*/ 37997 h 369"/>
                <a:gd name="T50" fmla="*/ 20638 w 190"/>
                <a:gd name="T51" fmla="*/ 31664 h 369"/>
                <a:gd name="T52" fmla="*/ 20638 w 190"/>
                <a:gd name="T53" fmla="*/ 28498 h 369"/>
                <a:gd name="T54" fmla="*/ 7144 w 190"/>
                <a:gd name="T55" fmla="*/ 18998 h 369"/>
                <a:gd name="T56" fmla="*/ 14288 w 190"/>
                <a:gd name="T57" fmla="*/ 15832 h 369"/>
                <a:gd name="T58" fmla="*/ 10319 w 190"/>
                <a:gd name="T59" fmla="*/ 12666 h 369"/>
                <a:gd name="T60" fmla="*/ 3969 w 190"/>
                <a:gd name="T61" fmla="*/ 9499 h 369"/>
                <a:gd name="T62" fmla="*/ 0 w 190"/>
                <a:gd name="T63" fmla="*/ 3166 h 3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0"/>
                <a:gd name="T97" fmla="*/ 0 h 369"/>
                <a:gd name="T98" fmla="*/ 190 w 190"/>
                <a:gd name="T99" fmla="*/ 369 h 3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0" h="369">
                  <a:moveTo>
                    <a:pt x="0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17" y="16"/>
                  </a:lnTo>
                  <a:lnTo>
                    <a:pt x="86" y="0"/>
                  </a:lnTo>
                  <a:lnTo>
                    <a:pt x="121" y="0"/>
                  </a:lnTo>
                  <a:lnTo>
                    <a:pt x="121" y="33"/>
                  </a:lnTo>
                  <a:lnTo>
                    <a:pt x="156" y="33"/>
                  </a:lnTo>
                  <a:lnTo>
                    <a:pt x="121" y="48"/>
                  </a:lnTo>
                  <a:lnTo>
                    <a:pt x="104" y="81"/>
                  </a:lnTo>
                  <a:lnTo>
                    <a:pt x="86" y="96"/>
                  </a:lnTo>
                  <a:lnTo>
                    <a:pt x="173" y="207"/>
                  </a:lnTo>
                  <a:lnTo>
                    <a:pt x="190" y="240"/>
                  </a:lnTo>
                  <a:lnTo>
                    <a:pt x="173" y="303"/>
                  </a:lnTo>
                  <a:lnTo>
                    <a:pt x="138" y="321"/>
                  </a:lnTo>
                  <a:lnTo>
                    <a:pt x="121" y="321"/>
                  </a:lnTo>
                  <a:lnTo>
                    <a:pt x="104" y="351"/>
                  </a:lnTo>
                  <a:lnTo>
                    <a:pt x="69" y="369"/>
                  </a:lnTo>
                  <a:lnTo>
                    <a:pt x="69" y="336"/>
                  </a:lnTo>
                  <a:lnTo>
                    <a:pt x="52" y="321"/>
                  </a:lnTo>
                  <a:lnTo>
                    <a:pt x="86" y="303"/>
                  </a:lnTo>
                  <a:lnTo>
                    <a:pt x="104" y="288"/>
                  </a:lnTo>
                  <a:lnTo>
                    <a:pt x="138" y="273"/>
                  </a:lnTo>
                  <a:lnTo>
                    <a:pt x="138" y="225"/>
                  </a:lnTo>
                  <a:lnTo>
                    <a:pt x="138" y="192"/>
                  </a:lnTo>
                  <a:lnTo>
                    <a:pt x="104" y="160"/>
                  </a:lnTo>
                  <a:lnTo>
                    <a:pt x="104" y="144"/>
                  </a:lnTo>
                  <a:lnTo>
                    <a:pt x="35" y="96"/>
                  </a:lnTo>
                  <a:lnTo>
                    <a:pt x="69" y="81"/>
                  </a:lnTo>
                  <a:lnTo>
                    <a:pt x="52" y="64"/>
                  </a:lnTo>
                  <a:lnTo>
                    <a:pt x="17" y="4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1" name="Freeform 152">
              <a:extLst>
                <a:ext uri="{FF2B5EF4-FFF2-40B4-BE49-F238E27FC236}">
                  <a16:creationId xmlns:a16="http://schemas.microsoft.com/office/drawing/2014/main" id="{1E6E5671-5647-4067-906E-1140DB6790B4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6896099" y="4503738"/>
              <a:ext cx="82550" cy="114300"/>
            </a:xfrm>
            <a:custGeom>
              <a:avLst/>
              <a:gdLst>
                <a:gd name="T0" fmla="*/ 10319 w 104"/>
                <a:gd name="T1" fmla="*/ 2381 h 144"/>
                <a:gd name="T2" fmla="*/ 10319 w 104"/>
                <a:gd name="T3" fmla="*/ 2381 h 144"/>
                <a:gd name="T4" fmla="*/ 7144 w 104"/>
                <a:gd name="T5" fmla="*/ 5556 h 144"/>
                <a:gd name="T6" fmla="*/ 3969 w 104"/>
                <a:gd name="T7" fmla="*/ 2381 h 144"/>
                <a:gd name="T8" fmla="*/ 0 w 104"/>
                <a:gd name="T9" fmla="*/ 0 h 144"/>
                <a:gd name="T10" fmla="*/ 0 w 104"/>
                <a:gd name="T11" fmla="*/ 2381 h 144"/>
                <a:gd name="T12" fmla="*/ 0 w 104"/>
                <a:gd name="T13" fmla="*/ 11906 h 144"/>
                <a:gd name="T14" fmla="*/ 7144 w 104"/>
                <a:gd name="T15" fmla="*/ 19050 h 144"/>
                <a:gd name="T16" fmla="*/ 17463 w 104"/>
                <a:gd name="T17" fmla="*/ 28575 h 144"/>
                <a:gd name="T18" fmla="*/ 20638 w 104"/>
                <a:gd name="T19" fmla="*/ 28575 h 144"/>
                <a:gd name="T20" fmla="*/ 17463 w 104"/>
                <a:gd name="T21" fmla="*/ 19050 h 144"/>
                <a:gd name="T22" fmla="*/ 17463 w 104"/>
                <a:gd name="T23" fmla="*/ 9525 h 144"/>
                <a:gd name="T24" fmla="*/ 10319 w 104"/>
                <a:gd name="T25" fmla="*/ 2381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44"/>
                <a:gd name="T41" fmla="*/ 104 w 104"/>
                <a:gd name="T42" fmla="*/ 144 h 1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44">
                  <a:moveTo>
                    <a:pt x="52" y="15"/>
                  </a:moveTo>
                  <a:lnTo>
                    <a:pt x="52" y="15"/>
                  </a:lnTo>
                  <a:lnTo>
                    <a:pt x="35" y="30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63"/>
                  </a:lnTo>
                  <a:lnTo>
                    <a:pt x="35" y="96"/>
                  </a:lnTo>
                  <a:lnTo>
                    <a:pt x="87" y="144"/>
                  </a:lnTo>
                  <a:lnTo>
                    <a:pt x="104" y="144"/>
                  </a:lnTo>
                  <a:lnTo>
                    <a:pt x="87" y="96"/>
                  </a:lnTo>
                  <a:lnTo>
                    <a:pt x="87" y="48"/>
                  </a:lnTo>
                  <a:lnTo>
                    <a:pt x="52" y="1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2" name="Freeform 153">
              <a:extLst>
                <a:ext uri="{FF2B5EF4-FFF2-40B4-BE49-F238E27FC236}">
                  <a16:creationId xmlns:a16="http://schemas.microsoft.com/office/drawing/2014/main" id="{B1025089-4D49-4C7C-A72B-09006CB09F3C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6842124" y="4224338"/>
              <a:ext cx="163513" cy="304800"/>
            </a:xfrm>
            <a:custGeom>
              <a:avLst/>
              <a:gdLst>
                <a:gd name="T0" fmla="*/ 13429 w 207"/>
                <a:gd name="T1" fmla="*/ 0 h 383"/>
                <a:gd name="T2" fmla="*/ 13429 w 207"/>
                <a:gd name="T3" fmla="*/ 0 h 383"/>
                <a:gd name="T4" fmla="*/ 0 w 207"/>
                <a:gd name="T5" fmla="*/ 6367 h 383"/>
                <a:gd name="T6" fmla="*/ 0 w 207"/>
                <a:gd name="T7" fmla="*/ 13529 h 383"/>
                <a:gd name="T8" fmla="*/ 3160 w 207"/>
                <a:gd name="T9" fmla="*/ 23079 h 383"/>
                <a:gd name="T10" fmla="*/ 3160 w 207"/>
                <a:gd name="T11" fmla="*/ 28650 h 383"/>
                <a:gd name="T12" fmla="*/ 6319 w 207"/>
                <a:gd name="T13" fmla="*/ 35016 h 383"/>
                <a:gd name="T14" fmla="*/ 10269 w 207"/>
                <a:gd name="T15" fmla="*/ 44566 h 383"/>
                <a:gd name="T16" fmla="*/ 3160 w 207"/>
                <a:gd name="T17" fmla="*/ 57299 h 383"/>
                <a:gd name="T18" fmla="*/ 3160 w 207"/>
                <a:gd name="T19" fmla="*/ 61278 h 383"/>
                <a:gd name="T20" fmla="*/ 3160 w 207"/>
                <a:gd name="T21" fmla="*/ 63666 h 383"/>
                <a:gd name="T22" fmla="*/ 13429 w 207"/>
                <a:gd name="T23" fmla="*/ 73216 h 383"/>
                <a:gd name="T24" fmla="*/ 13429 w 207"/>
                <a:gd name="T25" fmla="*/ 70828 h 383"/>
                <a:gd name="T26" fmla="*/ 16588 w 207"/>
                <a:gd name="T27" fmla="*/ 73216 h 383"/>
                <a:gd name="T28" fmla="*/ 20538 w 207"/>
                <a:gd name="T29" fmla="*/ 76399 h 383"/>
                <a:gd name="T30" fmla="*/ 23698 w 207"/>
                <a:gd name="T31" fmla="*/ 73216 h 383"/>
                <a:gd name="T32" fmla="*/ 20538 w 207"/>
                <a:gd name="T33" fmla="*/ 70828 h 383"/>
                <a:gd name="T34" fmla="*/ 13429 w 207"/>
                <a:gd name="T35" fmla="*/ 70828 h 383"/>
                <a:gd name="T36" fmla="*/ 10269 w 207"/>
                <a:gd name="T37" fmla="*/ 57299 h 383"/>
                <a:gd name="T38" fmla="*/ 6319 w 207"/>
                <a:gd name="T39" fmla="*/ 57299 h 383"/>
                <a:gd name="T40" fmla="*/ 6319 w 207"/>
                <a:gd name="T41" fmla="*/ 54116 h 383"/>
                <a:gd name="T42" fmla="*/ 10269 w 207"/>
                <a:gd name="T43" fmla="*/ 44566 h 383"/>
                <a:gd name="T44" fmla="*/ 10269 w 207"/>
                <a:gd name="T45" fmla="*/ 38199 h 383"/>
                <a:gd name="T46" fmla="*/ 16588 w 207"/>
                <a:gd name="T47" fmla="*/ 38199 h 383"/>
                <a:gd name="T48" fmla="*/ 16588 w 207"/>
                <a:gd name="T49" fmla="*/ 42179 h 383"/>
                <a:gd name="T50" fmla="*/ 20538 w 207"/>
                <a:gd name="T51" fmla="*/ 42179 h 383"/>
                <a:gd name="T52" fmla="*/ 26857 w 207"/>
                <a:gd name="T53" fmla="*/ 47749 h 383"/>
                <a:gd name="T54" fmla="*/ 26857 w 207"/>
                <a:gd name="T55" fmla="*/ 44566 h 383"/>
                <a:gd name="T56" fmla="*/ 23698 w 207"/>
                <a:gd name="T57" fmla="*/ 38199 h 383"/>
                <a:gd name="T58" fmla="*/ 26857 w 207"/>
                <a:gd name="T59" fmla="*/ 32629 h 383"/>
                <a:gd name="T60" fmla="*/ 40286 w 207"/>
                <a:gd name="T61" fmla="*/ 32629 h 383"/>
                <a:gd name="T62" fmla="*/ 40286 w 207"/>
                <a:gd name="T63" fmla="*/ 25466 h 383"/>
                <a:gd name="T64" fmla="*/ 37126 w 207"/>
                <a:gd name="T65" fmla="*/ 23079 h 383"/>
                <a:gd name="T66" fmla="*/ 33966 w 207"/>
                <a:gd name="T67" fmla="*/ 15916 h 383"/>
                <a:gd name="T68" fmla="*/ 30807 w 207"/>
                <a:gd name="T69" fmla="*/ 9550 h 383"/>
                <a:gd name="T70" fmla="*/ 23698 w 207"/>
                <a:gd name="T71" fmla="*/ 13529 h 383"/>
                <a:gd name="T72" fmla="*/ 16588 w 207"/>
                <a:gd name="T73" fmla="*/ 15916 h 383"/>
                <a:gd name="T74" fmla="*/ 16588 w 207"/>
                <a:gd name="T75" fmla="*/ 6367 h 383"/>
                <a:gd name="T76" fmla="*/ 13429 w 207"/>
                <a:gd name="T77" fmla="*/ 3979 h 383"/>
                <a:gd name="T78" fmla="*/ 13429 w 207"/>
                <a:gd name="T79" fmla="*/ 0 h 38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383"/>
                <a:gd name="T122" fmla="*/ 207 w 207"/>
                <a:gd name="T123" fmla="*/ 383 h 38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383">
                  <a:moveTo>
                    <a:pt x="69" y="0"/>
                  </a:moveTo>
                  <a:lnTo>
                    <a:pt x="69" y="0"/>
                  </a:lnTo>
                  <a:lnTo>
                    <a:pt x="0" y="32"/>
                  </a:lnTo>
                  <a:lnTo>
                    <a:pt x="0" y="65"/>
                  </a:lnTo>
                  <a:lnTo>
                    <a:pt x="17" y="113"/>
                  </a:lnTo>
                  <a:lnTo>
                    <a:pt x="17" y="143"/>
                  </a:lnTo>
                  <a:lnTo>
                    <a:pt x="35" y="176"/>
                  </a:lnTo>
                  <a:lnTo>
                    <a:pt x="52" y="224"/>
                  </a:lnTo>
                  <a:lnTo>
                    <a:pt x="17" y="287"/>
                  </a:lnTo>
                  <a:lnTo>
                    <a:pt x="17" y="305"/>
                  </a:lnTo>
                  <a:lnTo>
                    <a:pt x="17" y="320"/>
                  </a:lnTo>
                  <a:lnTo>
                    <a:pt x="69" y="368"/>
                  </a:lnTo>
                  <a:lnTo>
                    <a:pt x="69" y="353"/>
                  </a:lnTo>
                  <a:lnTo>
                    <a:pt x="87" y="368"/>
                  </a:lnTo>
                  <a:lnTo>
                    <a:pt x="104" y="383"/>
                  </a:lnTo>
                  <a:lnTo>
                    <a:pt x="121" y="368"/>
                  </a:lnTo>
                  <a:lnTo>
                    <a:pt x="104" y="353"/>
                  </a:lnTo>
                  <a:lnTo>
                    <a:pt x="69" y="353"/>
                  </a:lnTo>
                  <a:lnTo>
                    <a:pt x="52" y="287"/>
                  </a:lnTo>
                  <a:lnTo>
                    <a:pt x="35" y="287"/>
                  </a:lnTo>
                  <a:lnTo>
                    <a:pt x="35" y="272"/>
                  </a:lnTo>
                  <a:lnTo>
                    <a:pt x="52" y="224"/>
                  </a:lnTo>
                  <a:lnTo>
                    <a:pt x="52" y="191"/>
                  </a:lnTo>
                  <a:lnTo>
                    <a:pt x="87" y="191"/>
                  </a:lnTo>
                  <a:lnTo>
                    <a:pt x="87" y="209"/>
                  </a:lnTo>
                  <a:lnTo>
                    <a:pt x="104" y="209"/>
                  </a:lnTo>
                  <a:lnTo>
                    <a:pt x="138" y="239"/>
                  </a:lnTo>
                  <a:lnTo>
                    <a:pt x="138" y="224"/>
                  </a:lnTo>
                  <a:lnTo>
                    <a:pt x="121" y="191"/>
                  </a:lnTo>
                  <a:lnTo>
                    <a:pt x="138" y="161"/>
                  </a:lnTo>
                  <a:lnTo>
                    <a:pt x="207" y="161"/>
                  </a:lnTo>
                  <a:lnTo>
                    <a:pt x="207" y="128"/>
                  </a:lnTo>
                  <a:lnTo>
                    <a:pt x="190" y="113"/>
                  </a:lnTo>
                  <a:lnTo>
                    <a:pt x="173" y="80"/>
                  </a:lnTo>
                  <a:lnTo>
                    <a:pt x="156" y="48"/>
                  </a:lnTo>
                  <a:lnTo>
                    <a:pt x="121" y="65"/>
                  </a:lnTo>
                  <a:lnTo>
                    <a:pt x="87" y="80"/>
                  </a:lnTo>
                  <a:lnTo>
                    <a:pt x="87" y="32"/>
                  </a:lnTo>
                  <a:lnTo>
                    <a:pt x="69" y="17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3" name="Freeform 154">
              <a:extLst>
                <a:ext uri="{FF2B5EF4-FFF2-40B4-BE49-F238E27FC236}">
                  <a16:creationId xmlns:a16="http://schemas.microsoft.com/office/drawing/2014/main" id="{D8DE33E9-113B-4B38-987D-2A8E55F9FA2C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650037" y="4059238"/>
              <a:ext cx="66675" cy="25400"/>
            </a:xfrm>
            <a:custGeom>
              <a:avLst/>
              <a:gdLst>
                <a:gd name="T0" fmla="*/ 13335 w 85"/>
                <a:gd name="T1" fmla="*/ 0 h 33"/>
                <a:gd name="T2" fmla="*/ 13335 w 85"/>
                <a:gd name="T3" fmla="*/ 0 h 33"/>
                <a:gd name="T4" fmla="*/ 3138 w 85"/>
                <a:gd name="T5" fmla="*/ 0 h 33"/>
                <a:gd name="T6" fmla="*/ 0 w 85"/>
                <a:gd name="T7" fmla="*/ 3079 h 33"/>
                <a:gd name="T8" fmla="*/ 0 w 85"/>
                <a:gd name="T9" fmla="*/ 6158 h 33"/>
                <a:gd name="T10" fmla="*/ 13335 w 85"/>
                <a:gd name="T11" fmla="*/ 6158 h 33"/>
                <a:gd name="T12" fmla="*/ 16473 w 85"/>
                <a:gd name="T13" fmla="*/ 6158 h 33"/>
                <a:gd name="T14" fmla="*/ 13335 w 8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33"/>
                <a:gd name="T26" fmla="*/ 85 w 8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33">
                  <a:moveTo>
                    <a:pt x="69" y="0"/>
                  </a:moveTo>
                  <a:lnTo>
                    <a:pt x="69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0" y="33"/>
                  </a:lnTo>
                  <a:lnTo>
                    <a:pt x="69" y="33"/>
                  </a:lnTo>
                  <a:lnTo>
                    <a:pt x="85" y="3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4" name="Freeform 155">
              <a:extLst>
                <a:ext uri="{FF2B5EF4-FFF2-40B4-BE49-F238E27FC236}">
                  <a16:creationId xmlns:a16="http://schemas.microsoft.com/office/drawing/2014/main" id="{634092E0-FDA0-4105-82B8-295274E48D77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456362" y="4010026"/>
              <a:ext cx="165100" cy="87313"/>
            </a:xfrm>
            <a:custGeom>
              <a:avLst/>
              <a:gdLst>
                <a:gd name="T0" fmla="*/ 3145 w 210"/>
                <a:gd name="T1" fmla="*/ 0 h 111"/>
                <a:gd name="T2" fmla="*/ 3145 w 210"/>
                <a:gd name="T3" fmla="*/ 0 h 111"/>
                <a:gd name="T4" fmla="*/ 0 w 210"/>
                <a:gd name="T5" fmla="*/ 9439 h 111"/>
                <a:gd name="T6" fmla="*/ 6290 w 210"/>
                <a:gd name="T7" fmla="*/ 11799 h 111"/>
                <a:gd name="T8" fmla="*/ 36951 w 210"/>
                <a:gd name="T9" fmla="*/ 21238 h 111"/>
                <a:gd name="T10" fmla="*/ 40882 w 210"/>
                <a:gd name="T11" fmla="*/ 21238 h 111"/>
                <a:gd name="T12" fmla="*/ 40882 w 210"/>
                <a:gd name="T13" fmla="*/ 18878 h 111"/>
                <a:gd name="T14" fmla="*/ 40882 w 210"/>
                <a:gd name="T15" fmla="*/ 11799 h 111"/>
                <a:gd name="T16" fmla="*/ 30661 w 210"/>
                <a:gd name="T17" fmla="*/ 11799 h 111"/>
                <a:gd name="T18" fmla="*/ 23586 w 210"/>
                <a:gd name="T19" fmla="*/ 9439 h 111"/>
                <a:gd name="T20" fmla="*/ 20441 w 210"/>
                <a:gd name="T21" fmla="*/ 5506 h 111"/>
                <a:gd name="T22" fmla="*/ 16510 w 210"/>
                <a:gd name="T23" fmla="*/ 5506 h 111"/>
                <a:gd name="T24" fmla="*/ 10220 w 210"/>
                <a:gd name="T25" fmla="*/ 0 h 111"/>
                <a:gd name="T26" fmla="*/ 3145 w 210"/>
                <a:gd name="T27" fmla="*/ 0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0"/>
                <a:gd name="T43" fmla="*/ 0 h 111"/>
                <a:gd name="T44" fmla="*/ 210 w 210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0" h="111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35" y="63"/>
                  </a:lnTo>
                  <a:lnTo>
                    <a:pt x="192" y="111"/>
                  </a:lnTo>
                  <a:lnTo>
                    <a:pt x="210" y="111"/>
                  </a:lnTo>
                  <a:lnTo>
                    <a:pt x="210" y="96"/>
                  </a:lnTo>
                  <a:lnTo>
                    <a:pt x="210" y="63"/>
                  </a:lnTo>
                  <a:lnTo>
                    <a:pt x="158" y="63"/>
                  </a:lnTo>
                  <a:lnTo>
                    <a:pt x="121" y="48"/>
                  </a:lnTo>
                  <a:lnTo>
                    <a:pt x="104" y="31"/>
                  </a:lnTo>
                  <a:lnTo>
                    <a:pt x="87" y="31"/>
                  </a:lnTo>
                  <a:lnTo>
                    <a:pt x="5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5" name="Freeform 156">
              <a:extLst>
                <a:ext uri="{FF2B5EF4-FFF2-40B4-BE49-F238E27FC236}">
                  <a16:creationId xmlns:a16="http://schemas.microsoft.com/office/drawing/2014/main" id="{3F802EC8-8A7B-4787-9D7F-0598ECB0835F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7459662" y="3805238"/>
              <a:ext cx="68263" cy="101600"/>
            </a:xfrm>
            <a:custGeom>
              <a:avLst/>
              <a:gdLst>
                <a:gd name="T0" fmla="*/ 0 w 86"/>
                <a:gd name="T1" fmla="*/ 6350 h 128"/>
                <a:gd name="T2" fmla="*/ 0 w 86"/>
                <a:gd name="T3" fmla="*/ 6350 h 128"/>
                <a:gd name="T4" fmla="*/ 9525 w 86"/>
                <a:gd name="T5" fmla="*/ 0 h 128"/>
                <a:gd name="T6" fmla="*/ 14288 w 86"/>
                <a:gd name="T7" fmla="*/ 6350 h 128"/>
                <a:gd name="T8" fmla="*/ 17463 w 86"/>
                <a:gd name="T9" fmla="*/ 15875 h 128"/>
                <a:gd name="T10" fmla="*/ 14288 w 86"/>
                <a:gd name="T11" fmla="*/ 22225 h 128"/>
                <a:gd name="T12" fmla="*/ 0 w 86"/>
                <a:gd name="T13" fmla="*/ 25400 h 128"/>
                <a:gd name="T14" fmla="*/ 0 w 86"/>
                <a:gd name="T15" fmla="*/ 22225 h 128"/>
                <a:gd name="T16" fmla="*/ 0 w 86"/>
                <a:gd name="T17" fmla="*/ 19050 h 128"/>
                <a:gd name="T18" fmla="*/ 0 w 86"/>
                <a:gd name="T19" fmla="*/ 9525 h 128"/>
                <a:gd name="T20" fmla="*/ 0 w 86"/>
                <a:gd name="T21" fmla="*/ 6350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128"/>
                <a:gd name="T35" fmla="*/ 86 w 86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128">
                  <a:moveTo>
                    <a:pt x="0" y="32"/>
                  </a:moveTo>
                  <a:lnTo>
                    <a:pt x="0" y="32"/>
                  </a:lnTo>
                  <a:lnTo>
                    <a:pt x="51" y="0"/>
                  </a:lnTo>
                  <a:lnTo>
                    <a:pt x="69" y="32"/>
                  </a:lnTo>
                  <a:lnTo>
                    <a:pt x="86" y="80"/>
                  </a:lnTo>
                  <a:lnTo>
                    <a:pt x="69" y="113"/>
                  </a:lnTo>
                  <a:lnTo>
                    <a:pt x="0" y="128"/>
                  </a:lnTo>
                  <a:lnTo>
                    <a:pt x="0" y="113"/>
                  </a:lnTo>
                  <a:lnTo>
                    <a:pt x="0" y="96"/>
                  </a:lnTo>
                  <a:lnTo>
                    <a:pt x="0" y="4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6" name="Freeform 157">
              <a:extLst>
                <a:ext uri="{FF2B5EF4-FFF2-40B4-BE49-F238E27FC236}">
                  <a16:creationId xmlns:a16="http://schemas.microsoft.com/office/drawing/2014/main" id="{C5FAB5B1-0FE5-40E0-B276-8CF97C917727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7418387" y="3705226"/>
              <a:ext cx="138113" cy="125413"/>
            </a:xfrm>
            <a:custGeom>
              <a:avLst/>
              <a:gdLst>
                <a:gd name="T0" fmla="*/ 35331 w 172"/>
                <a:gd name="T1" fmla="*/ 0 h 159"/>
                <a:gd name="T2" fmla="*/ 35331 w 172"/>
                <a:gd name="T3" fmla="*/ 0 h 159"/>
                <a:gd name="T4" fmla="*/ 31316 w 172"/>
                <a:gd name="T5" fmla="*/ 0 h 159"/>
                <a:gd name="T6" fmla="*/ 24892 w 172"/>
                <a:gd name="T7" fmla="*/ 3155 h 159"/>
                <a:gd name="T8" fmla="*/ 20878 w 172"/>
                <a:gd name="T9" fmla="*/ 3155 h 159"/>
                <a:gd name="T10" fmla="*/ 17666 w 172"/>
                <a:gd name="T11" fmla="*/ 5521 h 159"/>
                <a:gd name="T12" fmla="*/ 14454 w 172"/>
                <a:gd name="T13" fmla="*/ 5521 h 159"/>
                <a:gd name="T14" fmla="*/ 0 w 172"/>
                <a:gd name="T15" fmla="*/ 14986 h 159"/>
                <a:gd name="T16" fmla="*/ 0 w 172"/>
                <a:gd name="T17" fmla="*/ 18930 h 159"/>
                <a:gd name="T18" fmla="*/ 4015 w 172"/>
                <a:gd name="T19" fmla="*/ 18930 h 159"/>
                <a:gd name="T20" fmla="*/ 0 w 172"/>
                <a:gd name="T21" fmla="*/ 28395 h 159"/>
                <a:gd name="T22" fmla="*/ 4015 w 172"/>
                <a:gd name="T23" fmla="*/ 30762 h 159"/>
                <a:gd name="T24" fmla="*/ 7227 w 172"/>
                <a:gd name="T25" fmla="*/ 30762 h 159"/>
                <a:gd name="T26" fmla="*/ 10439 w 172"/>
                <a:gd name="T27" fmla="*/ 30762 h 159"/>
                <a:gd name="T28" fmla="*/ 20878 w 172"/>
                <a:gd name="T29" fmla="*/ 24452 h 159"/>
                <a:gd name="T30" fmla="*/ 14454 w 172"/>
                <a:gd name="T31" fmla="*/ 22085 h 159"/>
                <a:gd name="T32" fmla="*/ 14454 w 172"/>
                <a:gd name="T33" fmla="*/ 18930 h 159"/>
                <a:gd name="T34" fmla="*/ 28104 w 172"/>
                <a:gd name="T35" fmla="*/ 12620 h 159"/>
                <a:gd name="T36" fmla="*/ 28104 w 172"/>
                <a:gd name="T37" fmla="*/ 5521 h 159"/>
                <a:gd name="T38" fmla="*/ 35331 w 172"/>
                <a:gd name="T39" fmla="*/ 0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2"/>
                <a:gd name="T61" fmla="*/ 0 h 159"/>
                <a:gd name="T62" fmla="*/ 172 w 172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2" h="159">
                  <a:moveTo>
                    <a:pt x="172" y="0"/>
                  </a:moveTo>
                  <a:lnTo>
                    <a:pt x="172" y="0"/>
                  </a:lnTo>
                  <a:lnTo>
                    <a:pt x="155" y="0"/>
                  </a:lnTo>
                  <a:lnTo>
                    <a:pt x="121" y="16"/>
                  </a:lnTo>
                  <a:lnTo>
                    <a:pt x="103" y="16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0" y="79"/>
                  </a:lnTo>
                  <a:lnTo>
                    <a:pt x="0" y="96"/>
                  </a:lnTo>
                  <a:lnTo>
                    <a:pt x="17" y="96"/>
                  </a:lnTo>
                  <a:lnTo>
                    <a:pt x="0" y="144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52" y="159"/>
                  </a:lnTo>
                  <a:lnTo>
                    <a:pt x="103" y="127"/>
                  </a:lnTo>
                  <a:lnTo>
                    <a:pt x="69" y="112"/>
                  </a:lnTo>
                  <a:lnTo>
                    <a:pt x="69" y="96"/>
                  </a:lnTo>
                  <a:lnTo>
                    <a:pt x="138" y="64"/>
                  </a:lnTo>
                  <a:lnTo>
                    <a:pt x="138" y="31"/>
                  </a:lnTo>
                  <a:lnTo>
                    <a:pt x="172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7" name="Freeform 158">
              <a:extLst>
                <a:ext uri="{FF2B5EF4-FFF2-40B4-BE49-F238E27FC236}">
                  <a16:creationId xmlns:a16="http://schemas.microsoft.com/office/drawing/2014/main" id="{CB6E766E-A67F-4FE6-876A-8D0B84EFF7E6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7527924" y="3919538"/>
              <a:ext cx="55563" cy="76200"/>
            </a:xfrm>
            <a:custGeom>
              <a:avLst/>
              <a:gdLst>
                <a:gd name="T0" fmla="*/ 0 w 69"/>
                <a:gd name="T1" fmla="*/ 3969 h 96"/>
                <a:gd name="T2" fmla="*/ 0 w 69"/>
                <a:gd name="T3" fmla="*/ 3969 h 96"/>
                <a:gd name="T4" fmla="*/ 0 w 69"/>
                <a:gd name="T5" fmla="*/ 6350 h 96"/>
                <a:gd name="T6" fmla="*/ 4026 w 69"/>
                <a:gd name="T7" fmla="*/ 6350 h 96"/>
                <a:gd name="T8" fmla="*/ 4026 w 69"/>
                <a:gd name="T9" fmla="*/ 15875 h 96"/>
                <a:gd name="T10" fmla="*/ 7247 w 69"/>
                <a:gd name="T11" fmla="*/ 19050 h 96"/>
                <a:gd name="T12" fmla="*/ 10468 w 69"/>
                <a:gd name="T13" fmla="*/ 15875 h 96"/>
                <a:gd name="T14" fmla="*/ 14495 w 69"/>
                <a:gd name="T15" fmla="*/ 6350 h 96"/>
                <a:gd name="T16" fmla="*/ 10468 w 69"/>
                <a:gd name="T17" fmla="*/ 3969 h 96"/>
                <a:gd name="T18" fmla="*/ 4026 w 69"/>
                <a:gd name="T19" fmla="*/ 0 h 96"/>
                <a:gd name="T20" fmla="*/ 0 w 69"/>
                <a:gd name="T21" fmla="*/ 39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96"/>
                <a:gd name="T35" fmla="*/ 69 w 69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96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17" y="80"/>
                  </a:lnTo>
                  <a:lnTo>
                    <a:pt x="34" y="96"/>
                  </a:lnTo>
                  <a:lnTo>
                    <a:pt x="52" y="80"/>
                  </a:lnTo>
                  <a:lnTo>
                    <a:pt x="69" y="32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8" name="Freeform 159">
              <a:extLst>
                <a:ext uri="{FF2B5EF4-FFF2-40B4-BE49-F238E27FC236}">
                  <a16:creationId xmlns:a16="http://schemas.microsoft.com/office/drawing/2014/main" id="{0CE7291A-79EF-45FB-98CD-4D9327DBA046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7583487" y="3919538"/>
              <a:ext cx="57150" cy="25400"/>
            </a:xfrm>
            <a:custGeom>
              <a:avLst/>
              <a:gdLst>
                <a:gd name="T0" fmla="*/ 0 w 71"/>
                <a:gd name="T1" fmla="*/ 3175 h 32"/>
                <a:gd name="T2" fmla="*/ 0 w 71"/>
                <a:gd name="T3" fmla="*/ 3175 h 32"/>
                <a:gd name="T4" fmla="*/ 0 w 71"/>
                <a:gd name="T5" fmla="*/ 6350 h 32"/>
                <a:gd name="T6" fmla="*/ 4025 w 71"/>
                <a:gd name="T7" fmla="*/ 6350 h 32"/>
                <a:gd name="T8" fmla="*/ 7244 w 71"/>
                <a:gd name="T9" fmla="*/ 3175 h 32"/>
                <a:gd name="T10" fmla="*/ 11269 w 71"/>
                <a:gd name="T11" fmla="*/ 3175 h 32"/>
                <a:gd name="T12" fmla="*/ 14489 w 71"/>
                <a:gd name="T13" fmla="*/ 0 h 32"/>
                <a:gd name="T14" fmla="*/ 7244 w 71"/>
                <a:gd name="T15" fmla="*/ 0 h 32"/>
                <a:gd name="T16" fmla="*/ 0 w 71"/>
                <a:gd name="T17" fmla="*/ 3175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32"/>
                <a:gd name="T29" fmla="*/ 71 w 71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32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71" y="0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499" name="Freeform 160">
              <a:extLst>
                <a:ext uri="{FF2B5EF4-FFF2-40B4-BE49-F238E27FC236}">
                  <a16:creationId xmlns:a16="http://schemas.microsoft.com/office/drawing/2014/main" id="{466CD691-1B91-49BB-92B6-8BDF89620998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7558087" y="3729038"/>
              <a:ext cx="233363" cy="204788"/>
            </a:xfrm>
            <a:custGeom>
              <a:avLst/>
              <a:gdLst>
                <a:gd name="T0" fmla="*/ 0 w 294"/>
                <a:gd name="T1" fmla="*/ 44623 h 257"/>
                <a:gd name="T2" fmla="*/ 0 w 294"/>
                <a:gd name="T3" fmla="*/ 44623 h 257"/>
                <a:gd name="T4" fmla="*/ 0 w 294"/>
                <a:gd name="T5" fmla="*/ 47810 h 257"/>
                <a:gd name="T6" fmla="*/ 7144 w 294"/>
                <a:gd name="T7" fmla="*/ 47810 h 257"/>
                <a:gd name="T8" fmla="*/ 20638 w 294"/>
                <a:gd name="T9" fmla="*/ 42233 h 257"/>
                <a:gd name="T10" fmla="*/ 23813 w 294"/>
                <a:gd name="T11" fmla="*/ 44623 h 257"/>
                <a:gd name="T12" fmla="*/ 23813 w 294"/>
                <a:gd name="T13" fmla="*/ 47810 h 257"/>
                <a:gd name="T14" fmla="*/ 27781 w 294"/>
                <a:gd name="T15" fmla="*/ 51795 h 257"/>
                <a:gd name="T16" fmla="*/ 30956 w 294"/>
                <a:gd name="T17" fmla="*/ 44623 h 257"/>
                <a:gd name="T18" fmla="*/ 30956 w 294"/>
                <a:gd name="T19" fmla="*/ 42233 h 257"/>
                <a:gd name="T20" fmla="*/ 34131 w 294"/>
                <a:gd name="T21" fmla="*/ 44623 h 257"/>
                <a:gd name="T22" fmla="*/ 37306 w 294"/>
                <a:gd name="T23" fmla="*/ 44623 h 257"/>
                <a:gd name="T24" fmla="*/ 41275 w 294"/>
                <a:gd name="T25" fmla="*/ 42233 h 257"/>
                <a:gd name="T26" fmla="*/ 44450 w 294"/>
                <a:gd name="T27" fmla="*/ 44623 h 257"/>
                <a:gd name="T28" fmla="*/ 44450 w 294"/>
                <a:gd name="T29" fmla="*/ 42233 h 257"/>
                <a:gd name="T30" fmla="*/ 47625 w 294"/>
                <a:gd name="T31" fmla="*/ 38248 h 257"/>
                <a:gd name="T32" fmla="*/ 47625 w 294"/>
                <a:gd name="T33" fmla="*/ 42233 h 257"/>
                <a:gd name="T34" fmla="*/ 51594 w 294"/>
                <a:gd name="T35" fmla="*/ 42233 h 257"/>
                <a:gd name="T36" fmla="*/ 55563 w 294"/>
                <a:gd name="T37" fmla="*/ 38248 h 257"/>
                <a:gd name="T38" fmla="*/ 55563 w 294"/>
                <a:gd name="T39" fmla="*/ 23108 h 257"/>
                <a:gd name="T40" fmla="*/ 58738 w 294"/>
                <a:gd name="T41" fmla="*/ 23108 h 257"/>
                <a:gd name="T42" fmla="*/ 58738 w 294"/>
                <a:gd name="T43" fmla="*/ 16734 h 257"/>
                <a:gd name="T44" fmla="*/ 58738 w 294"/>
                <a:gd name="T45" fmla="*/ 3984 h 257"/>
                <a:gd name="T46" fmla="*/ 55563 w 294"/>
                <a:gd name="T47" fmla="*/ 0 h 257"/>
                <a:gd name="T48" fmla="*/ 55563 w 294"/>
                <a:gd name="T49" fmla="*/ 3984 h 257"/>
                <a:gd name="T50" fmla="*/ 51594 w 294"/>
                <a:gd name="T51" fmla="*/ 3984 h 257"/>
                <a:gd name="T52" fmla="*/ 47625 w 294"/>
                <a:gd name="T53" fmla="*/ 16734 h 257"/>
                <a:gd name="T54" fmla="*/ 41275 w 294"/>
                <a:gd name="T55" fmla="*/ 25499 h 257"/>
                <a:gd name="T56" fmla="*/ 34131 w 294"/>
                <a:gd name="T57" fmla="*/ 32670 h 257"/>
                <a:gd name="T58" fmla="*/ 34131 w 294"/>
                <a:gd name="T59" fmla="*/ 25499 h 257"/>
                <a:gd name="T60" fmla="*/ 30956 w 294"/>
                <a:gd name="T61" fmla="*/ 28686 h 257"/>
                <a:gd name="T62" fmla="*/ 27781 w 294"/>
                <a:gd name="T63" fmla="*/ 38248 h 257"/>
                <a:gd name="T64" fmla="*/ 23813 w 294"/>
                <a:gd name="T65" fmla="*/ 38248 h 257"/>
                <a:gd name="T66" fmla="*/ 10319 w 294"/>
                <a:gd name="T67" fmla="*/ 38248 h 257"/>
                <a:gd name="T68" fmla="*/ 0 w 294"/>
                <a:gd name="T69" fmla="*/ 44623 h 2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4"/>
                <a:gd name="T106" fmla="*/ 0 h 257"/>
                <a:gd name="T107" fmla="*/ 294 w 294"/>
                <a:gd name="T108" fmla="*/ 257 h 2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4" h="257">
                  <a:moveTo>
                    <a:pt x="0" y="224"/>
                  </a:moveTo>
                  <a:lnTo>
                    <a:pt x="0" y="224"/>
                  </a:lnTo>
                  <a:lnTo>
                    <a:pt x="0" y="240"/>
                  </a:lnTo>
                  <a:lnTo>
                    <a:pt x="35" y="240"/>
                  </a:lnTo>
                  <a:lnTo>
                    <a:pt x="104" y="209"/>
                  </a:lnTo>
                  <a:lnTo>
                    <a:pt x="121" y="224"/>
                  </a:lnTo>
                  <a:lnTo>
                    <a:pt x="121" y="240"/>
                  </a:lnTo>
                  <a:lnTo>
                    <a:pt x="139" y="257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73" y="224"/>
                  </a:lnTo>
                  <a:lnTo>
                    <a:pt x="190" y="224"/>
                  </a:lnTo>
                  <a:lnTo>
                    <a:pt x="208" y="209"/>
                  </a:lnTo>
                  <a:lnTo>
                    <a:pt x="225" y="224"/>
                  </a:lnTo>
                  <a:lnTo>
                    <a:pt x="225" y="209"/>
                  </a:lnTo>
                  <a:lnTo>
                    <a:pt x="242" y="192"/>
                  </a:lnTo>
                  <a:lnTo>
                    <a:pt x="242" y="209"/>
                  </a:lnTo>
                  <a:lnTo>
                    <a:pt x="260" y="209"/>
                  </a:lnTo>
                  <a:lnTo>
                    <a:pt x="277" y="192"/>
                  </a:lnTo>
                  <a:lnTo>
                    <a:pt x="277" y="113"/>
                  </a:lnTo>
                  <a:lnTo>
                    <a:pt x="294" y="113"/>
                  </a:lnTo>
                  <a:lnTo>
                    <a:pt x="294" y="81"/>
                  </a:lnTo>
                  <a:lnTo>
                    <a:pt x="294" y="17"/>
                  </a:lnTo>
                  <a:lnTo>
                    <a:pt x="277" y="0"/>
                  </a:lnTo>
                  <a:lnTo>
                    <a:pt x="277" y="17"/>
                  </a:lnTo>
                  <a:lnTo>
                    <a:pt x="260" y="17"/>
                  </a:lnTo>
                  <a:lnTo>
                    <a:pt x="242" y="81"/>
                  </a:lnTo>
                  <a:lnTo>
                    <a:pt x="208" y="128"/>
                  </a:lnTo>
                  <a:lnTo>
                    <a:pt x="173" y="161"/>
                  </a:lnTo>
                  <a:lnTo>
                    <a:pt x="173" y="128"/>
                  </a:lnTo>
                  <a:lnTo>
                    <a:pt x="156" y="144"/>
                  </a:lnTo>
                  <a:lnTo>
                    <a:pt x="139" y="192"/>
                  </a:lnTo>
                  <a:lnTo>
                    <a:pt x="121" y="192"/>
                  </a:lnTo>
                  <a:lnTo>
                    <a:pt x="52" y="192"/>
                  </a:lnTo>
                  <a:lnTo>
                    <a:pt x="0" y="224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0" name="Freeform 161">
              <a:extLst>
                <a:ext uri="{FF2B5EF4-FFF2-40B4-BE49-F238E27FC236}">
                  <a16:creationId xmlns:a16="http://schemas.microsoft.com/office/drawing/2014/main" id="{86D53C92-60F7-4862-AD43-74E4776CADA2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7750174" y="3614738"/>
              <a:ext cx="136525" cy="114300"/>
            </a:xfrm>
            <a:custGeom>
              <a:avLst/>
              <a:gdLst>
                <a:gd name="T0" fmla="*/ 0 w 173"/>
                <a:gd name="T1" fmla="*/ 22225 h 144"/>
                <a:gd name="T2" fmla="*/ 0 w 173"/>
                <a:gd name="T3" fmla="*/ 22225 h 144"/>
                <a:gd name="T4" fmla="*/ 0 w 173"/>
                <a:gd name="T5" fmla="*/ 28575 h 144"/>
                <a:gd name="T6" fmla="*/ 6313 w 173"/>
                <a:gd name="T7" fmla="*/ 26194 h 144"/>
                <a:gd name="T8" fmla="*/ 3157 w 173"/>
                <a:gd name="T9" fmla="*/ 26194 h 144"/>
                <a:gd name="T10" fmla="*/ 3157 w 173"/>
                <a:gd name="T11" fmla="*/ 22225 h 144"/>
                <a:gd name="T12" fmla="*/ 6313 w 173"/>
                <a:gd name="T13" fmla="*/ 22225 h 144"/>
                <a:gd name="T14" fmla="*/ 10259 w 173"/>
                <a:gd name="T15" fmla="*/ 22225 h 144"/>
                <a:gd name="T16" fmla="*/ 20518 w 173"/>
                <a:gd name="T17" fmla="*/ 26194 h 144"/>
                <a:gd name="T18" fmla="*/ 23675 w 173"/>
                <a:gd name="T19" fmla="*/ 19050 h 144"/>
                <a:gd name="T20" fmla="*/ 26832 w 173"/>
                <a:gd name="T21" fmla="*/ 19050 h 144"/>
                <a:gd name="T22" fmla="*/ 33934 w 173"/>
                <a:gd name="T23" fmla="*/ 15875 h 144"/>
                <a:gd name="T24" fmla="*/ 30777 w 173"/>
                <a:gd name="T25" fmla="*/ 15875 h 144"/>
                <a:gd name="T26" fmla="*/ 26832 w 173"/>
                <a:gd name="T27" fmla="*/ 13494 h 144"/>
                <a:gd name="T28" fmla="*/ 30777 w 173"/>
                <a:gd name="T29" fmla="*/ 9525 h 144"/>
                <a:gd name="T30" fmla="*/ 26832 w 173"/>
                <a:gd name="T31" fmla="*/ 13494 h 144"/>
                <a:gd name="T32" fmla="*/ 20518 w 173"/>
                <a:gd name="T33" fmla="*/ 9525 h 144"/>
                <a:gd name="T34" fmla="*/ 10259 w 173"/>
                <a:gd name="T35" fmla="*/ 0 h 144"/>
                <a:gd name="T36" fmla="*/ 10259 w 173"/>
                <a:gd name="T37" fmla="*/ 3969 h 144"/>
                <a:gd name="T38" fmla="*/ 10259 w 173"/>
                <a:gd name="T39" fmla="*/ 7144 h 144"/>
                <a:gd name="T40" fmla="*/ 6313 w 173"/>
                <a:gd name="T41" fmla="*/ 19050 h 144"/>
                <a:gd name="T42" fmla="*/ 3157 w 173"/>
                <a:gd name="T43" fmla="*/ 15875 h 144"/>
                <a:gd name="T44" fmla="*/ 3157 w 173"/>
                <a:gd name="T45" fmla="*/ 19050 h 144"/>
                <a:gd name="T46" fmla="*/ 0 w 173"/>
                <a:gd name="T47" fmla="*/ 22225 h 1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3"/>
                <a:gd name="T73" fmla="*/ 0 h 144"/>
                <a:gd name="T74" fmla="*/ 173 w 173"/>
                <a:gd name="T75" fmla="*/ 144 h 1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3" h="144">
                  <a:moveTo>
                    <a:pt x="0" y="113"/>
                  </a:moveTo>
                  <a:lnTo>
                    <a:pt x="0" y="113"/>
                  </a:lnTo>
                  <a:lnTo>
                    <a:pt x="0" y="144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18" y="113"/>
                  </a:lnTo>
                  <a:lnTo>
                    <a:pt x="35" y="113"/>
                  </a:lnTo>
                  <a:lnTo>
                    <a:pt x="52" y="113"/>
                  </a:lnTo>
                  <a:lnTo>
                    <a:pt x="104" y="129"/>
                  </a:lnTo>
                  <a:lnTo>
                    <a:pt x="121" y="96"/>
                  </a:lnTo>
                  <a:lnTo>
                    <a:pt x="139" y="96"/>
                  </a:lnTo>
                  <a:lnTo>
                    <a:pt x="173" y="81"/>
                  </a:lnTo>
                  <a:lnTo>
                    <a:pt x="156" y="81"/>
                  </a:lnTo>
                  <a:lnTo>
                    <a:pt x="139" y="65"/>
                  </a:lnTo>
                  <a:lnTo>
                    <a:pt x="156" y="48"/>
                  </a:lnTo>
                  <a:lnTo>
                    <a:pt x="139" y="65"/>
                  </a:lnTo>
                  <a:lnTo>
                    <a:pt x="104" y="48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33"/>
                  </a:lnTo>
                  <a:lnTo>
                    <a:pt x="35" y="96"/>
                  </a:lnTo>
                  <a:lnTo>
                    <a:pt x="18" y="81"/>
                  </a:lnTo>
                  <a:lnTo>
                    <a:pt x="18" y="96"/>
                  </a:lnTo>
                  <a:lnTo>
                    <a:pt x="0" y="11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1" name="Freeform 162">
              <a:extLst>
                <a:ext uri="{FF2B5EF4-FFF2-40B4-BE49-F238E27FC236}">
                  <a16:creationId xmlns:a16="http://schemas.microsoft.com/office/drawing/2014/main" id="{A8E64A95-40EB-4DAE-873C-0752DC570735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8078787" y="3462338"/>
              <a:ext cx="26988" cy="25400"/>
            </a:xfrm>
            <a:custGeom>
              <a:avLst/>
              <a:gdLst>
                <a:gd name="T0" fmla="*/ 0 w 35"/>
                <a:gd name="T1" fmla="*/ 3079 h 33"/>
                <a:gd name="T2" fmla="*/ 0 w 35"/>
                <a:gd name="T3" fmla="*/ 3079 h 33"/>
                <a:gd name="T4" fmla="*/ 0 w 35"/>
                <a:gd name="T5" fmla="*/ 6158 h 33"/>
                <a:gd name="T6" fmla="*/ 3084 w 35"/>
                <a:gd name="T7" fmla="*/ 3079 h 33"/>
                <a:gd name="T8" fmla="*/ 6169 w 35"/>
                <a:gd name="T9" fmla="*/ 0 h 33"/>
                <a:gd name="T10" fmla="*/ 0 w 35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0" y="17"/>
                  </a:moveTo>
                  <a:lnTo>
                    <a:pt x="0" y="17"/>
                  </a:lnTo>
                  <a:lnTo>
                    <a:pt x="0" y="33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2" name="Freeform 163">
              <a:extLst>
                <a:ext uri="{FF2B5EF4-FFF2-40B4-BE49-F238E27FC236}">
                  <a16:creationId xmlns:a16="http://schemas.microsoft.com/office/drawing/2014/main" id="{F0D1393B-171A-490A-95E7-06A1A40CC2D1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7791449" y="3348038"/>
              <a:ext cx="53975" cy="266700"/>
            </a:xfrm>
            <a:custGeom>
              <a:avLst/>
              <a:gdLst>
                <a:gd name="T0" fmla="*/ 0 w 69"/>
                <a:gd name="T1" fmla="*/ 7144 h 336"/>
                <a:gd name="T2" fmla="*/ 0 w 69"/>
                <a:gd name="T3" fmla="*/ 7144 h 336"/>
                <a:gd name="T4" fmla="*/ 0 w 69"/>
                <a:gd name="T5" fmla="*/ 22225 h 336"/>
                <a:gd name="T6" fmla="*/ 3129 w 69"/>
                <a:gd name="T7" fmla="*/ 26194 h 336"/>
                <a:gd name="T8" fmla="*/ 0 w 69"/>
                <a:gd name="T9" fmla="*/ 44450 h 336"/>
                <a:gd name="T10" fmla="*/ 3129 w 69"/>
                <a:gd name="T11" fmla="*/ 51594 h 336"/>
                <a:gd name="T12" fmla="*/ 0 w 69"/>
                <a:gd name="T13" fmla="*/ 61119 h 336"/>
                <a:gd name="T14" fmla="*/ 3129 w 69"/>
                <a:gd name="T15" fmla="*/ 66675 h 336"/>
                <a:gd name="T16" fmla="*/ 3129 w 69"/>
                <a:gd name="T17" fmla="*/ 61119 h 336"/>
                <a:gd name="T18" fmla="*/ 10169 w 69"/>
                <a:gd name="T19" fmla="*/ 64294 h 336"/>
                <a:gd name="T20" fmla="*/ 10169 w 69"/>
                <a:gd name="T21" fmla="*/ 61119 h 336"/>
                <a:gd name="T22" fmla="*/ 3129 w 69"/>
                <a:gd name="T23" fmla="*/ 51594 h 336"/>
                <a:gd name="T24" fmla="*/ 6258 w 69"/>
                <a:gd name="T25" fmla="*/ 41275 h 336"/>
                <a:gd name="T26" fmla="*/ 10169 w 69"/>
                <a:gd name="T27" fmla="*/ 41275 h 336"/>
                <a:gd name="T28" fmla="*/ 13298 w 69"/>
                <a:gd name="T29" fmla="*/ 41275 h 336"/>
                <a:gd name="T30" fmla="*/ 6258 w 69"/>
                <a:gd name="T31" fmla="*/ 19050 h 336"/>
                <a:gd name="T32" fmla="*/ 6258 w 69"/>
                <a:gd name="T33" fmla="*/ 3969 h 336"/>
                <a:gd name="T34" fmla="*/ 6258 w 69"/>
                <a:gd name="T35" fmla="*/ 0 h 336"/>
                <a:gd name="T36" fmla="*/ 3129 w 69"/>
                <a:gd name="T37" fmla="*/ 0 h 336"/>
                <a:gd name="T38" fmla="*/ 3129 w 69"/>
                <a:gd name="T39" fmla="*/ 3969 h 336"/>
                <a:gd name="T40" fmla="*/ 0 w 69"/>
                <a:gd name="T41" fmla="*/ 7144 h 3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336"/>
                <a:gd name="T65" fmla="*/ 69 w 69"/>
                <a:gd name="T66" fmla="*/ 336 h 3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336">
                  <a:moveTo>
                    <a:pt x="0" y="33"/>
                  </a:moveTo>
                  <a:lnTo>
                    <a:pt x="0" y="33"/>
                  </a:lnTo>
                  <a:lnTo>
                    <a:pt x="0" y="113"/>
                  </a:lnTo>
                  <a:lnTo>
                    <a:pt x="17" y="129"/>
                  </a:lnTo>
                  <a:lnTo>
                    <a:pt x="0" y="225"/>
                  </a:lnTo>
                  <a:lnTo>
                    <a:pt x="17" y="257"/>
                  </a:lnTo>
                  <a:lnTo>
                    <a:pt x="0" y="305"/>
                  </a:lnTo>
                  <a:lnTo>
                    <a:pt x="17" y="336"/>
                  </a:lnTo>
                  <a:lnTo>
                    <a:pt x="17" y="305"/>
                  </a:lnTo>
                  <a:lnTo>
                    <a:pt x="52" y="321"/>
                  </a:lnTo>
                  <a:lnTo>
                    <a:pt x="52" y="305"/>
                  </a:lnTo>
                  <a:lnTo>
                    <a:pt x="17" y="257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69" y="209"/>
                  </a:lnTo>
                  <a:lnTo>
                    <a:pt x="35" y="96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3" name="Line 164">
              <a:extLst>
                <a:ext uri="{FF2B5EF4-FFF2-40B4-BE49-F238E27FC236}">
                  <a16:creationId xmlns:a16="http://schemas.microsoft.com/office/drawing/2014/main" id="{069AF087-62CE-4EFB-BF13-31421FFC5469}"/>
                </a:ext>
              </a:extLst>
            </p:cNvPr>
            <p:cNvSpPr>
              <a:spLocks noChangeShapeType="1"/>
            </p:cNvSpPr>
            <p:nvPr>
              <p:custDataLst>
                <p:tags r:id="rId164"/>
              </p:custDataLst>
            </p:nvPr>
          </p:nvSpPr>
          <p:spPr bwMode="auto">
            <a:xfrm flipV="1">
              <a:off x="7961312" y="3608388"/>
              <a:ext cx="26988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4" name="Freeform 165">
              <a:extLst>
                <a:ext uri="{FF2B5EF4-FFF2-40B4-BE49-F238E27FC236}">
                  <a16:creationId xmlns:a16="http://schemas.microsoft.com/office/drawing/2014/main" id="{12A64AA9-1AFD-4F33-8C51-1293A540D885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6318249" y="3373438"/>
              <a:ext cx="1322388" cy="850900"/>
            </a:xfrm>
            <a:custGeom>
              <a:avLst/>
              <a:gdLst>
                <a:gd name="T0" fmla="*/ 76292 w 1664"/>
                <a:gd name="T1" fmla="*/ 34958 h 1071"/>
                <a:gd name="T2" fmla="*/ 92980 w 1664"/>
                <a:gd name="T3" fmla="*/ 50847 h 1071"/>
                <a:gd name="T4" fmla="*/ 123974 w 1664"/>
                <a:gd name="T5" fmla="*/ 79449 h 1071"/>
                <a:gd name="T6" fmla="*/ 169272 w 1664"/>
                <a:gd name="T7" fmla="*/ 88983 h 1071"/>
                <a:gd name="T8" fmla="*/ 207418 w 1664"/>
                <a:gd name="T9" fmla="*/ 73093 h 1071"/>
                <a:gd name="T10" fmla="*/ 217749 w 1664"/>
                <a:gd name="T11" fmla="*/ 66737 h 1071"/>
                <a:gd name="T12" fmla="*/ 247948 w 1664"/>
                <a:gd name="T13" fmla="*/ 54025 h 1071"/>
                <a:gd name="T14" fmla="*/ 234438 w 1664"/>
                <a:gd name="T15" fmla="*/ 47669 h 1071"/>
                <a:gd name="T16" fmla="*/ 231259 w 1664"/>
                <a:gd name="T17" fmla="*/ 28602 h 1071"/>
                <a:gd name="T18" fmla="*/ 251921 w 1664"/>
                <a:gd name="T19" fmla="*/ 15890 h 1071"/>
                <a:gd name="T20" fmla="*/ 251921 w 1664"/>
                <a:gd name="T21" fmla="*/ 9534 h 1071"/>
                <a:gd name="T22" fmla="*/ 278941 w 1664"/>
                <a:gd name="T23" fmla="*/ 3178 h 1071"/>
                <a:gd name="T24" fmla="*/ 299604 w 1664"/>
                <a:gd name="T25" fmla="*/ 31780 h 1071"/>
                <a:gd name="T26" fmla="*/ 317087 w 1664"/>
                <a:gd name="T27" fmla="*/ 44491 h 1071"/>
                <a:gd name="T28" fmla="*/ 321061 w 1664"/>
                <a:gd name="T29" fmla="*/ 66737 h 1071"/>
                <a:gd name="T30" fmla="*/ 313908 w 1664"/>
                <a:gd name="T31" fmla="*/ 76271 h 1071"/>
                <a:gd name="T32" fmla="*/ 299604 w 1664"/>
                <a:gd name="T33" fmla="*/ 85805 h 1071"/>
                <a:gd name="T34" fmla="*/ 289272 w 1664"/>
                <a:gd name="T35" fmla="*/ 88983 h 1071"/>
                <a:gd name="T36" fmla="*/ 268610 w 1664"/>
                <a:gd name="T37" fmla="*/ 101695 h 1071"/>
                <a:gd name="T38" fmla="*/ 258279 w 1664"/>
                <a:gd name="T39" fmla="*/ 101695 h 1071"/>
                <a:gd name="T40" fmla="*/ 247948 w 1664"/>
                <a:gd name="T41" fmla="*/ 101695 h 1071"/>
                <a:gd name="T42" fmla="*/ 238411 w 1664"/>
                <a:gd name="T43" fmla="*/ 108051 h 1071"/>
                <a:gd name="T44" fmla="*/ 265431 w 1664"/>
                <a:gd name="T45" fmla="*/ 117585 h 1071"/>
                <a:gd name="T46" fmla="*/ 255100 w 1664"/>
                <a:gd name="T47" fmla="*/ 120763 h 1071"/>
                <a:gd name="T48" fmla="*/ 255100 w 1664"/>
                <a:gd name="T49" fmla="*/ 146186 h 1071"/>
                <a:gd name="T50" fmla="*/ 262252 w 1664"/>
                <a:gd name="T51" fmla="*/ 155720 h 1071"/>
                <a:gd name="T52" fmla="*/ 258279 w 1664"/>
                <a:gd name="T53" fmla="*/ 171610 h 1071"/>
                <a:gd name="T54" fmla="*/ 247948 w 1664"/>
                <a:gd name="T55" fmla="*/ 184322 h 1071"/>
                <a:gd name="T56" fmla="*/ 241590 w 1664"/>
                <a:gd name="T57" fmla="*/ 193856 h 1071"/>
                <a:gd name="T58" fmla="*/ 220928 w 1664"/>
                <a:gd name="T59" fmla="*/ 203390 h 1071"/>
                <a:gd name="T60" fmla="*/ 213775 w 1664"/>
                <a:gd name="T61" fmla="*/ 203390 h 1071"/>
                <a:gd name="T62" fmla="*/ 197087 w 1664"/>
                <a:gd name="T63" fmla="*/ 206568 h 1071"/>
                <a:gd name="T64" fmla="*/ 179603 w 1664"/>
                <a:gd name="T65" fmla="*/ 206568 h 1071"/>
                <a:gd name="T66" fmla="*/ 158146 w 1664"/>
                <a:gd name="T67" fmla="*/ 203390 h 1071"/>
                <a:gd name="T68" fmla="*/ 151789 w 1664"/>
                <a:gd name="T69" fmla="*/ 203390 h 1071"/>
                <a:gd name="T70" fmla="*/ 148610 w 1664"/>
                <a:gd name="T71" fmla="*/ 206568 h 1071"/>
                <a:gd name="T72" fmla="*/ 138279 w 1664"/>
                <a:gd name="T73" fmla="*/ 200212 h 1071"/>
                <a:gd name="T74" fmla="*/ 131126 w 1664"/>
                <a:gd name="T75" fmla="*/ 193856 h 1071"/>
                <a:gd name="T76" fmla="*/ 127947 w 1664"/>
                <a:gd name="T77" fmla="*/ 171610 h 1071"/>
                <a:gd name="T78" fmla="*/ 96954 w 1664"/>
                <a:gd name="T79" fmla="*/ 171610 h 1071"/>
                <a:gd name="T80" fmla="*/ 79470 w 1664"/>
                <a:gd name="T81" fmla="*/ 171610 h 1071"/>
                <a:gd name="T82" fmla="*/ 58808 w 1664"/>
                <a:gd name="T83" fmla="*/ 168432 h 1071"/>
                <a:gd name="T84" fmla="*/ 44503 w 1664"/>
                <a:gd name="T85" fmla="*/ 158898 h 1071"/>
                <a:gd name="T86" fmla="*/ 24636 w 1664"/>
                <a:gd name="T87" fmla="*/ 146186 h 1071"/>
                <a:gd name="T88" fmla="*/ 34172 w 1664"/>
                <a:gd name="T89" fmla="*/ 133474 h 1071"/>
                <a:gd name="T90" fmla="*/ 20662 w 1664"/>
                <a:gd name="T91" fmla="*/ 127119 h 1071"/>
                <a:gd name="T92" fmla="*/ 3974 w 1664"/>
                <a:gd name="T93" fmla="*/ 117585 h 1071"/>
                <a:gd name="T94" fmla="*/ 0 w 1664"/>
                <a:gd name="T95" fmla="*/ 108051 h 1071"/>
                <a:gd name="T96" fmla="*/ 14305 w 1664"/>
                <a:gd name="T97" fmla="*/ 95339 h 1071"/>
                <a:gd name="T98" fmla="*/ 34172 w 1664"/>
                <a:gd name="T99" fmla="*/ 85805 h 1071"/>
                <a:gd name="T100" fmla="*/ 34172 w 1664"/>
                <a:gd name="T101" fmla="*/ 63559 h 1071"/>
                <a:gd name="T102" fmla="*/ 58808 w 1664"/>
                <a:gd name="T103" fmla="*/ 50847 h 1071"/>
                <a:gd name="T104" fmla="*/ 69139 w 1664"/>
                <a:gd name="T105" fmla="*/ 38136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4"/>
                <a:gd name="T160" fmla="*/ 0 h 1071"/>
                <a:gd name="T161" fmla="*/ 1664 w 1664"/>
                <a:gd name="T162" fmla="*/ 1071 h 1071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306 w 10000"/>
                <a:gd name="connsiteY139" fmla="*/ 5677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936 w 10000"/>
                <a:gd name="connsiteY138" fmla="*/ 5821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302 w 10000"/>
                <a:gd name="connsiteY138" fmla="*/ 5541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0" h="10000">
                  <a:moveTo>
                    <a:pt x="2085" y="1793"/>
                  </a:moveTo>
                  <a:lnTo>
                    <a:pt x="2085" y="1793"/>
                  </a:lnTo>
                  <a:lnTo>
                    <a:pt x="2296" y="1643"/>
                  </a:lnTo>
                  <a:lnTo>
                    <a:pt x="2500" y="2092"/>
                  </a:lnTo>
                  <a:lnTo>
                    <a:pt x="2710" y="2092"/>
                  </a:lnTo>
                  <a:cubicBezTo>
                    <a:pt x="2744" y="2188"/>
                    <a:pt x="2779" y="2285"/>
                    <a:pt x="2813" y="2381"/>
                  </a:cubicBezTo>
                  <a:lnTo>
                    <a:pt x="2813" y="2988"/>
                  </a:lnTo>
                  <a:lnTo>
                    <a:pt x="3438" y="3277"/>
                  </a:lnTo>
                  <a:lnTo>
                    <a:pt x="3750" y="3725"/>
                  </a:lnTo>
                  <a:lnTo>
                    <a:pt x="4369" y="3725"/>
                  </a:lnTo>
                  <a:lnTo>
                    <a:pt x="4681" y="4034"/>
                  </a:lnTo>
                  <a:lnTo>
                    <a:pt x="5096" y="4174"/>
                  </a:lnTo>
                  <a:lnTo>
                    <a:pt x="5523" y="3884"/>
                  </a:lnTo>
                  <a:lnTo>
                    <a:pt x="5938" y="3884"/>
                  </a:lnTo>
                  <a:lnTo>
                    <a:pt x="6250" y="3436"/>
                  </a:lnTo>
                  <a:lnTo>
                    <a:pt x="6148" y="3277"/>
                  </a:lnTo>
                  <a:lnTo>
                    <a:pt x="6352" y="2988"/>
                  </a:lnTo>
                  <a:lnTo>
                    <a:pt x="6563" y="3137"/>
                  </a:lnTo>
                  <a:lnTo>
                    <a:pt x="6875" y="2829"/>
                  </a:lnTo>
                  <a:lnTo>
                    <a:pt x="7079" y="2540"/>
                  </a:lnTo>
                  <a:lnTo>
                    <a:pt x="7494" y="2540"/>
                  </a:lnTo>
                  <a:lnTo>
                    <a:pt x="7392" y="2241"/>
                  </a:lnTo>
                  <a:lnTo>
                    <a:pt x="7290" y="2092"/>
                  </a:lnTo>
                  <a:lnTo>
                    <a:pt x="7079" y="2241"/>
                  </a:lnTo>
                  <a:lnTo>
                    <a:pt x="6875" y="2241"/>
                  </a:lnTo>
                  <a:lnTo>
                    <a:pt x="6875" y="1643"/>
                  </a:lnTo>
                  <a:lnTo>
                    <a:pt x="6977" y="1345"/>
                  </a:lnTo>
                  <a:lnTo>
                    <a:pt x="7188" y="1485"/>
                  </a:lnTo>
                  <a:lnTo>
                    <a:pt x="7494" y="1345"/>
                  </a:lnTo>
                  <a:lnTo>
                    <a:pt x="7602" y="747"/>
                  </a:lnTo>
                  <a:lnTo>
                    <a:pt x="7704" y="588"/>
                  </a:lnTo>
                  <a:lnTo>
                    <a:pt x="7704" y="448"/>
                  </a:lnTo>
                  <a:lnTo>
                    <a:pt x="7602" y="448"/>
                  </a:lnTo>
                  <a:lnTo>
                    <a:pt x="7704" y="140"/>
                  </a:lnTo>
                  <a:lnTo>
                    <a:pt x="8119" y="0"/>
                  </a:lnTo>
                  <a:lnTo>
                    <a:pt x="8431" y="140"/>
                  </a:lnTo>
                  <a:cubicBezTo>
                    <a:pt x="8501" y="243"/>
                    <a:pt x="8572" y="345"/>
                    <a:pt x="8642" y="448"/>
                  </a:cubicBezTo>
                  <a:lnTo>
                    <a:pt x="8846" y="1485"/>
                  </a:lnTo>
                  <a:lnTo>
                    <a:pt x="9056" y="1485"/>
                  </a:lnTo>
                  <a:lnTo>
                    <a:pt x="9363" y="1793"/>
                  </a:lnTo>
                  <a:lnTo>
                    <a:pt x="9363" y="2092"/>
                  </a:lnTo>
                  <a:lnTo>
                    <a:pt x="9585" y="2092"/>
                  </a:lnTo>
                  <a:lnTo>
                    <a:pt x="10000" y="1933"/>
                  </a:lnTo>
                  <a:lnTo>
                    <a:pt x="10000" y="2241"/>
                  </a:lnTo>
                  <a:lnTo>
                    <a:pt x="9688" y="3137"/>
                  </a:lnTo>
                  <a:cubicBezTo>
                    <a:pt x="9654" y="3087"/>
                    <a:pt x="9619" y="3038"/>
                    <a:pt x="9585" y="2988"/>
                  </a:cubicBezTo>
                  <a:lnTo>
                    <a:pt x="9363" y="3137"/>
                  </a:lnTo>
                  <a:lnTo>
                    <a:pt x="9483" y="3585"/>
                  </a:lnTo>
                  <a:lnTo>
                    <a:pt x="9363" y="3884"/>
                  </a:lnTo>
                  <a:lnTo>
                    <a:pt x="9261" y="3884"/>
                  </a:lnTo>
                  <a:lnTo>
                    <a:pt x="9056" y="4034"/>
                  </a:lnTo>
                  <a:lnTo>
                    <a:pt x="8948" y="4034"/>
                  </a:lnTo>
                  <a:lnTo>
                    <a:pt x="8846" y="4174"/>
                  </a:lnTo>
                  <a:lnTo>
                    <a:pt x="8744" y="4174"/>
                  </a:lnTo>
                  <a:lnTo>
                    <a:pt x="8329" y="4622"/>
                  </a:lnTo>
                  <a:lnTo>
                    <a:pt x="8329" y="4781"/>
                  </a:lnTo>
                  <a:lnTo>
                    <a:pt x="8119" y="4781"/>
                  </a:lnTo>
                  <a:lnTo>
                    <a:pt x="7806" y="5070"/>
                  </a:lnTo>
                  <a:lnTo>
                    <a:pt x="7806" y="4930"/>
                  </a:lnTo>
                  <a:lnTo>
                    <a:pt x="7806" y="4781"/>
                  </a:lnTo>
                  <a:cubicBezTo>
                    <a:pt x="7842" y="4681"/>
                    <a:pt x="7879" y="4582"/>
                    <a:pt x="7915" y="4482"/>
                  </a:cubicBezTo>
                  <a:cubicBezTo>
                    <a:pt x="7879" y="4432"/>
                    <a:pt x="7842" y="4382"/>
                    <a:pt x="7806" y="4332"/>
                  </a:cubicBezTo>
                  <a:lnTo>
                    <a:pt x="7494" y="4781"/>
                  </a:lnTo>
                  <a:lnTo>
                    <a:pt x="7392" y="4930"/>
                  </a:lnTo>
                  <a:lnTo>
                    <a:pt x="7290" y="4930"/>
                  </a:lnTo>
                  <a:lnTo>
                    <a:pt x="7188" y="5070"/>
                  </a:lnTo>
                  <a:lnTo>
                    <a:pt x="7494" y="5518"/>
                  </a:lnTo>
                  <a:lnTo>
                    <a:pt x="7704" y="5369"/>
                  </a:lnTo>
                  <a:lnTo>
                    <a:pt x="8017" y="5518"/>
                  </a:lnTo>
                  <a:lnTo>
                    <a:pt x="8017" y="5677"/>
                  </a:lnTo>
                  <a:lnTo>
                    <a:pt x="7915" y="5518"/>
                  </a:lnTo>
                  <a:lnTo>
                    <a:pt x="7704" y="5677"/>
                  </a:lnTo>
                  <a:lnTo>
                    <a:pt x="7494" y="6125"/>
                  </a:lnTo>
                  <a:lnTo>
                    <a:pt x="7602" y="6265"/>
                  </a:lnTo>
                  <a:lnTo>
                    <a:pt x="7704" y="6863"/>
                  </a:lnTo>
                  <a:lnTo>
                    <a:pt x="7915" y="7021"/>
                  </a:lnTo>
                  <a:lnTo>
                    <a:pt x="7806" y="7021"/>
                  </a:lnTo>
                  <a:cubicBezTo>
                    <a:pt x="7842" y="7118"/>
                    <a:pt x="7879" y="7214"/>
                    <a:pt x="7915" y="7311"/>
                  </a:cubicBezTo>
                  <a:lnTo>
                    <a:pt x="7602" y="7470"/>
                  </a:lnTo>
                  <a:lnTo>
                    <a:pt x="7915" y="7470"/>
                  </a:lnTo>
                  <a:cubicBezTo>
                    <a:pt x="7879" y="7666"/>
                    <a:pt x="7842" y="7862"/>
                    <a:pt x="7806" y="8058"/>
                  </a:cubicBezTo>
                  <a:lnTo>
                    <a:pt x="7602" y="8366"/>
                  </a:lnTo>
                  <a:lnTo>
                    <a:pt x="7494" y="8366"/>
                  </a:lnTo>
                  <a:lnTo>
                    <a:pt x="7494" y="8655"/>
                  </a:lnTo>
                  <a:lnTo>
                    <a:pt x="7392" y="8954"/>
                  </a:lnTo>
                  <a:lnTo>
                    <a:pt x="7290" y="8954"/>
                  </a:lnTo>
                  <a:lnTo>
                    <a:pt x="7290" y="9104"/>
                  </a:lnTo>
                  <a:lnTo>
                    <a:pt x="6977" y="9402"/>
                  </a:lnTo>
                  <a:lnTo>
                    <a:pt x="6665" y="9402"/>
                  </a:lnTo>
                  <a:lnTo>
                    <a:pt x="6665" y="9552"/>
                  </a:lnTo>
                  <a:lnTo>
                    <a:pt x="6563" y="9402"/>
                  </a:lnTo>
                  <a:lnTo>
                    <a:pt x="6563" y="9552"/>
                  </a:lnTo>
                  <a:lnTo>
                    <a:pt x="6460" y="9552"/>
                  </a:lnTo>
                  <a:lnTo>
                    <a:pt x="6046" y="9851"/>
                  </a:lnTo>
                  <a:lnTo>
                    <a:pt x="5938" y="10000"/>
                  </a:lnTo>
                  <a:lnTo>
                    <a:pt x="5938" y="9711"/>
                  </a:lnTo>
                  <a:lnTo>
                    <a:pt x="5733" y="9711"/>
                  </a:lnTo>
                  <a:lnTo>
                    <a:pt x="5625" y="9711"/>
                  </a:lnTo>
                  <a:lnTo>
                    <a:pt x="5409" y="9711"/>
                  </a:lnTo>
                  <a:lnTo>
                    <a:pt x="5409" y="9402"/>
                  </a:lnTo>
                  <a:lnTo>
                    <a:pt x="5198" y="9402"/>
                  </a:lnTo>
                  <a:lnTo>
                    <a:pt x="4784" y="9552"/>
                  </a:lnTo>
                  <a:cubicBezTo>
                    <a:pt x="4750" y="9502"/>
                    <a:pt x="4715" y="9452"/>
                    <a:pt x="4681" y="9402"/>
                  </a:cubicBezTo>
                  <a:lnTo>
                    <a:pt x="4681" y="9552"/>
                  </a:lnTo>
                  <a:lnTo>
                    <a:pt x="4579" y="9552"/>
                  </a:lnTo>
                  <a:lnTo>
                    <a:pt x="4579" y="9851"/>
                  </a:lnTo>
                  <a:lnTo>
                    <a:pt x="4477" y="9851"/>
                  </a:lnTo>
                  <a:lnTo>
                    <a:pt x="4477" y="9711"/>
                  </a:lnTo>
                  <a:lnTo>
                    <a:pt x="4369" y="9711"/>
                  </a:lnTo>
                  <a:lnTo>
                    <a:pt x="4165" y="9552"/>
                  </a:lnTo>
                  <a:lnTo>
                    <a:pt x="4165" y="9402"/>
                  </a:lnTo>
                  <a:lnTo>
                    <a:pt x="4165" y="9262"/>
                  </a:lnTo>
                  <a:cubicBezTo>
                    <a:pt x="4129" y="9209"/>
                    <a:pt x="4092" y="9157"/>
                    <a:pt x="4056" y="9104"/>
                  </a:cubicBezTo>
                  <a:lnTo>
                    <a:pt x="3954" y="9104"/>
                  </a:lnTo>
                  <a:lnTo>
                    <a:pt x="4056" y="8366"/>
                  </a:lnTo>
                  <a:lnTo>
                    <a:pt x="3954" y="8058"/>
                  </a:lnTo>
                  <a:lnTo>
                    <a:pt x="3852" y="8058"/>
                  </a:lnTo>
                  <a:lnTo>
                    <a:pt x="3642" y="7759"/>
                  </a:lnTo>
                  <a:lnTo>
                    <a:pt x="3438" y="7759"/>
                  </a:lnTo>
                  <a:lnTo>
                    <a:pt x="2915" y="8058"/>
                  </a:lnTo>
                  <a:lnTo>
                    <a:pt x="2608" y="8058"/>
                  </a:lnTo>
                  <a:lnTo>
                    <a:pt x="2500" y="8207"/>
                  </a:lnTo>
                  <a:lnTo>
                    <a:pt x="2398" y="8058"/>
                  </a:lnTo>
                  <a:lnTo>
                    <a:pt x="2296" y="8058"/>
                  </a:lnTo>
                  <a:lnTo>
                    <a:pt x="1983" y="8058"/>
                  </a:lnTo>
                  <a:lnTo>
                    <a:pt x="1773" y="7918"/>
                  </a:lnTo>
                  <a:lnTo>
                    <a:pt x="1671" y="7759"/>
                  </a:lnTo>
                  <a:lnTo>
                    <a:pt x="1556" y="7759"/>
                  </a:lnTo>
                  <a:lnTo>
                    <a:pt x="1346" y="7470"/>
                  </a:lnTo>
                  <a:lnTo>
                    <a:pt x="1142" y="7470"/>
                  </a:lnTo>
                  <a:lnTo>
                    <a:pt x="829" y="7311"/>
                  </a:lnTo>
                  <a:lnTo>
                    <a:pt x="727" y="6863"/>
                  </a:lnTo>
                  <a:lnTo>
                    <a:pt x="931" y="6863"/>
                  </a:lnTo>
                  <a:lnTo>
                    <a:pt x="829" y="6573"/>
                  </a:lnTo>
                  <a:cubicBezTo>
                    <a:pt x="897" y="6470"/>
                    <a:pt x="966" y="6368"/>
                    <a:pt x="1034" y="6265"/>
                  </a:cubicBezTo>
                  <a:lnTo>
                    <a:pt x="1034" y="5966"/>
                  </a:lnTo>
                  <a:cubicBezTo>
                    <a:pt x="1000" y="5916"/>
                    <a:pt x="965" y="5867"/>
                    <a:pt x="931" y="5817"/>
                  </a:cubicBezTo>
                  <a:lnTo>
                    <a:pt x="673" y="5821"/>
                  </a:lnTo>
                  <a:cubicBezTo>
                    <a:pt x="615" y="5623"/>
                    <a:pt x="360" y="5739"/>
                    <a:pt x="302" y="5541"/>
                  </a:cubicBezTo>
                  <a:lnTo>
                    <a:pt x="102" y="5518"/>
                  </a:lnTo>
                  <a:lnTo>
                    <a:pt x="216" y="5243"/>
                  </a:lnTo>
                  <a:cubicBezTo>
                    <a:pt x="212" y="5185"/>
                    <a:pt x="208" y="5128"/>
                    <a:pt x="204" y="5070"/>
                  </a:cubicBezTo>
                  <a:lnTo>
                    <a:pt x="0" y="5070"/>
                  </a:lnTo>
                  <a:lnTo>
                    <a:pt x="0" y="4622"/>
                  </a:lnTo>
                  <a:lnTo>
                    <a:pt x="204" y="4482"/>
                  </a:lnTo>
                  <a:lnTo>
                    <a:pt x="415" y="4482"/>
                  </a:lnTo>
                  <a:lnTo>
                    <a:pt x="517" y="4332"/>
                  </a:lnTo>
                  <a:lnTo>
                    <a:pt x="727" y="4332"/>
                  </a:lnTo>
                  <a:lnTo>
                    <a:pt x="1034" y="4034"/>
                  </a:lnTo>
                  <a:lnTo>
                    <a:pt x="1142" y="3725"/>
                  </a:lnTo>
                  <a:lnTo>
                    <a:pt x="1034" y="3137"/>
                  </a:lnTo>
                  <a:lnTo>
                    <a:pt x="1034" y="2988"/>
                  </a:lnTo>
                  <a:lnTo>
                    <a:pt x="1346" y="2988"/>
                  </a:lnTo>
                  <a:lnTo>
                    <a:pt x="1454" y="2381"/>
                  </a:lnTo>
                  <a:lnTo>
                    <a:pt x="1773" y="2381"/>
                  </a:lnTo>
                  <a:lnTo>
                    <a:pt x="1881" y="2381"/>
                  </a:lnTo>
                  <a:lnTo>
                    <a:pt x="1983" y="1933"/>
                  </a:lnTo>
                  <a:lnTo>
                    <a:pt x="2085" y="179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5" name="Freeform 166">
              <a:extLst>
                <a:ext uri="{FF2B5EF4-FFF2-40B4-BE49-F238E27FC236}">
                  <a16:creationId xmlns:a16="http://schemas.microsoft.com/office/drawing/2014/main" id="{19B63A57-EEC0-4C30-AE42-32939151714D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7900987" y="3614738"/>
              <a:ext cx="41275" cy="38100"/>
            </a:xfrm>
            <a:custGeom>
              <a:avLst/>
              <a:gdLst>
                <a:gd name="T0" fmla="*/ 0 w 52"/>
                <a:gd name="T1" fmla="*/ 9525 h 48"/>
                <a:gd name="T2" fmla="*/ 0 w 52"/>
                <a:gd name="T3" fmla="*/ 9525 h 48"/>
                <a:gd name="T4" fmla="*/ 10319 w 52"/>
                <a:gd name="T5" fmla="*/ 0 h 48"/>
                <a:gd name="T6" fmla="*/ 7144 w 52"/>
                <a:gd name="T7" fmla="*/ 3969 h 48"/>
                <a:gd name="T8" fmla="*/ 0 w 52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6" name="Line 167">
              <a:extLst>
                <a:ext uri="{FF2B5EF4-FFF2-40B4-BE49-F238E27FC236}">
                  <a16:creationId xmlns:a16="http://schemas.microsoft.com/office/drawing/2014/main" id="{17DC45B3-B277-4B7F-901B-FAF019510A61}"/>
                </a:ext>
              </a:extLst>
            </p:cNvPr>
            <p:cNvSpPr>
              <a:spLocks noChangeShapeType="1"/>
            </p:cNvSpPr>
            <p:nvPr>
              <p:custDataLst>
                <p:tags r:id="rId167"/>
              </p:custDataLst>
            </p:nvPr>
          </p:nvSpPr>
          <p:spPr bwMode="auto">
            <a:xfrm flipV="1">
              <a:off x="7878762" y="3660776"/>
              <a:ext cx="14288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7" name="Freeform 168">
              <a:extLst>
                <a:ext uri="{FF2B5EF4-FFF2-40B4-BE49-F238E27FC236}">
                  <a16:creationId xmlns:a16="http://schemas.microsoft.com/office/drawing/2014/main" id="{4626287B-FEAA-471C-9B34-4D7DB0D95274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7693024" y="3324226"/>
              <a:ext cx="14288" cy="11113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3969 w 18"/>
                <a:gd name="T5" fmla="*/ 2223 h 15"/>
                <a:gd name="T6" fmla="*/ 3969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8" name="Freeform 169">
              <a:extLst>
                <a:ext uri="{FF2B5EF4-FFF2-40B4-BE49-F238E27FC236}">
                  <a16:creationId xmlns:a16="http://schemas.microsoft.com/office/drawing/2014/main" id="{17CACF89-B70A-4412-A9B1-CF6E0128E8AB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6619874" y="3424238"/>
              <a:ext cx="688975" cy="304800"/>
            </a:xfrm>
            <a:custGeom>
              <a:avLst/>
              <a:gdLst>
                <a:gd name="T0" fmla="*/ 113637 w 867"/>
                <a:gd name="T1" fmla="*/ 19050 h 384"/>
                <a:gd name="T2" fmla="*/ 113637 w 867"/>
                <a:gd name="T3" fmla="*/ 19050 h 384"/>
                <a:gd name="T4" fmla="*/ 92976 w 867"/>
                <a:gd name="T5" fmla="*/ 9525 h 384"/>
                <a:gd name="T6" fmla="*/ 86619 w 867"/>
                <a:gd name="T7" fmla="*/ 13494 h 384"/>
                <a:gd name="T8" fmla="*/ 82645 w 867"/>
                <a:gd name="T9" fmla="*/ 13494 h 384"/>
                <a:gd name="T10" fmla="*/ 76288 w 867"/>
                <a:gd name="T11" fmla="*/ 3969 h 384"/>
                <a:gd name="T12" fmla="*/ 62779 w 867"/>
                <a:gd name="T13" fmla="*/ 0 h 384"/>
                <a:gd name="T14" fmla="*/ 55627 w 867"/>
                <a:gd name="T15" fmla="*/ 3969 h 384"/>
                <a:gd name="T16" fmla="*/ 55627 w 867"/>
                <a:gd name="T17" fmla="*/ 9525 h 384"/>
                <a:gd name="T18" fmla="*/ 55627 w 867"/>
                <a:gd name="T19" fmla="*/ 16669 h 384"/>
                <a:gd name="T20" fmla="*/ 41323 w 867"/>
                <a:gd name="T21" fmla="*/ 16669 h 384"/>
                <a:gd name="T22" fmla="*/ 34965 w 867"/>
                <a:gd name="T23" fmla="*/ 13494 h 384"/>
                <a:gd name="T24" fmla="*/ 20661 w 867"/>
                <a:gd name="T25" fmla="*/ 9525 h 384"/>
                <a:gd name="T26" fmla="*/ 3973 w 867"/>
                <a:gd name="T27" fmla="*/ 19050 h 384"/>
                <a:gd name="T28" fmla="*/ 0 w 867"/>
                <a:gd name="T29" fmla="*/ 22225 h 384"/>
                <a:gd name="T30" fmla="*/ 7152 w 867"/>
                <a:gd name="T31" fmla="*/ 32544 h 384"/>
                <a:gd name="T32" fmla="*/ 14304 w 867"/>
                <a:gd name="T33" fmla="*/ 32544 h 384"/>
                <a:gd name="T34" fmla="*/ 17483 w 867"/>
                <a:gd name="T35" fmla="*/ 38100 h 384"/>
                <a:gd name="T36" fmla="*/ 17483 w 867"/>
                <a:gd name="T37" fmla="*/ 51594 h 384"/>
                <a:gd name="T38" fmla="*/ 38144 w 867"/>
                <a:gd name="T39" fmla="*/ 57150 h 384"/>
                <a:gd name="T40" fmla="*/ 48475 w 867"/>
                <a:gd name="T41" fmla="*/ 66675 h 384"/>
                <a:gd name="T42" fmla="*/ 69136 w 867"/>
                <a:gd name="T43" fmla="*/ 66675 h 384"/>
                <a:gd name="T44" fmla="*/ 79467 w 867"/>
                <a:gd name="T45" fmla="*/ 73819 h 384"/>
                <a:gd name="T46" fmla="*/ 92976 w 867"/>
                <a:gd name="T47" fmla="*/ 76200 h 384"/>
                <a:gd name="T48" fmla="*/ 107280 w 867"/>
                <a:gd name="T49" fmla="*/ 70644 h 384"/>
                <a:gd name="T50" fmla="*/ 120789 w 867"/>
                <a:gd name="T51" fmla="*/ 70644 h 384"/>
                <a:gd name="T52" fmla="*/ 131120 w 867"/>
                <a:gd name="T53" fmla="*/ 61119 h 384"/>
                <a:gd name="T54" fmla="*/ 127941 w 867"/>
                <a:gd name="T55" fmla="*/ 57150 h 384"/>
                <a:gd name="T56" fmla="*/ 135093 w 867"/>
                <a:gd name="T57" fmla="*/ 51594 h 384"/>
                <a:gd name="T58" fmla="*/ 141450 w 867"/>
                <a:gd name="T59" fmla="*/ 54769 h 384"/>
                <a:gd name="T60" fmla="*/ 151781 w 867"/>
                <a:gd name="T61" fmla="*/ 47625 h 384"/>
                <a:gd name="T62" fmla="*/ 158933 w 867"/>
                <a:gd name="T63" fmla="*/ 41275 h 384"/>
                <a:gd name="T64" fmla="*/ 172442 w 867"/>
                <a:gd name="T65" fmla="*/ 41275 h 384"/>
                <a:gd name="T66" fmla="*/ 169264 w 867"/>
                <a:gd name="T67" fmla="*/ 35719 h 384"/>
                <a:gd name="T68" fmla="*/ 166085 w 867"/>
                <a:gd name="T69" fmla="*/ 32544 h 384"/>
                <a:gd name="T70" fmla="*/ 158933 w 867"/>
                <a:gd name="T71" fmla="*/ 35719 h 384"/>
                <a:gd name="T72" fmla="*/ 151781 w 867"/>
                <a:gd name="T73" fmla="*/ 35719 h 384"/>
                <a:gd name="T74" fmla="*/ 151781 w 867"/>
                <a:gd name="T75" fmla="*/ 22225 h 384"/>
                <a:gd name="T76" fmla="*/ 155754 w 867"/>
                <a:gd name="T77" fmla="*/ 16669 h 384"/>
                <a:gd name="T78" fmla="*/ 145424 w 867"/>
                <a:gd name="T79" fmla="*/ 13494 h 384"/>
                <a:gd name="T80" fmla="*/ 138272 w 867"/>
                <a:gd name="T81" fmla="*/ 19050 h 384"/>
                <a:gd name="T82" fmla="*/ 123968 w 867"/>
                <a:gd name="T83" fmla="*/ 22225 h 384"/>
                <a:gd name="T84" fmla="*/ 113637 w 867"/>
                <a:gd name="T85" fmla="*/ 19050 h 3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7"/>
                <a:gd name="T130" fmla="*/ 0 h 384"/>
                <a:gd name="T131" fmla="*/ 867 w 867"/>
                <a:gd name="T132" fmla="*/ 384 h 3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7" h="384">
                  <a:moveTo>
                    <a:pt x="572" y="96"/>
                  </a:moveTo>
                  <a:lnTo>
                    <a:pt x="572" y="96"/>
                  </a:lnTo>
                  <a:lnTo>
                    <a:pt x="468" y="48"/>
                  </a:lnTo>
                  <a:lnTo>
                    <a:pt x="434" y="65"/>
                  </a:lnTo>
                  <a:lnTo>
                    <a:pt x="416" y="65"/>
                  </a:lnTo>
                  <a:lnTo>
                    <a:pt x="382" y="17"/>
                  </a:lnTo>
                  <a:lnTo>
                    <a:pt x="313" y="0"/>
                  </a:lnTo>
                  <a:lnTo>
                    <a:pt x="278" y="17"/>
                  </a:lnTo>
                  <a:lnTo>
                    <a:pt x="278" y="48"/>
                  </a:lnTo>
                  <a:lnTo>
                    <a:pt x="278" y="81"/>
                  </a:lnTo>
                  <a:lnTo>
                    <a:pt x="207" y="81"/>
                  </a:lnTo>
                  <a:lnTo>
                    <a:pt x="173" y="65"/>
                  </a:lnTo>
                  <a:lnTo>
                    <a:pt x="103" y="48"/>
                  </a:lnTo>
                  <a:lnTo>
                    <a:pt x="17" y="96"/>
                  </a:lnTo>
                  <a:lnTo>
                    <a:pt x="0" y="113"/>
                  </a:lnTo>
                  <a:lnTo>
                    <a:pt x="34" y="161"/>
                  </a:lnTo>
                  <a:lnTo>
                    <a:pt x="69" y="161"/>
                  </a:lnTo>
                  <a:lnTo>
                    <a:pt x="86" y="192"/>
                  </a:lnTo>
                  <a:lnTo>
                    <a:pt x="86" y="257"/>
                  </a:lnTo>
                  <a:lnTo>
                    <a:pt x="190" y="288"/>
                  </a:lnTo>
                  <a:lnTo>
                    <a:pt x="244" y="336"/>
                  </a:lnTo>
                  <a:lnTo>
                    <a:pt x="347" y="336"/>
                  </a:lnTo>
                  <a:lnTo>
                    <a:pt x="399" y="369"/>
                  </a:lnTo>
                  <a:lnTo>
                    <a:pt x="468" y="384"/>
                  </a:lnTo>
                  <a:lnTo>
                    <a:pt x="537" y="353"/>
                  </a:lnTo>
                  <a:lnTo>
                    <a:pt x="606" y="353"/>
                  </a:lnTo>
                  <a:lnTo>
                    <a:pt x="660" y="305"/>
                  </a:lnTo>
                  <a:lnTo>
                    <a:pt x="641" y="288"/>
                  </a:lnTo>
                  <a:lnTo>
                    <a:pt x="677" y="257"/>
                  </a:lnTo>
                  <a:lnTo>
                    <a:pt x="712" y="273"/>
                  </a:lnTo>
                  <a:lnTo>
                    <a:pt x="764" y="240"/>
                  </a:lnTo>
                  <a:lnTo>
                    <a:pt x="798" y="209"/>
                  </a:lnTo>
                  <a:lnTo>
                    <a:pt x="867" y="209"/>
                  </a:lnTo>
                  <a:lnTo>
                    <a:pt x="850" y="177"/>
                  </a:lnTo>
                  <a:lnTo>
                    <a:pt x="833" y="161"/>
                  </a:lnTo>
                  <a:lnTo>
                    <a:pt x="798" y="177"/>
                  </a:lnTo>
                  <a:lnTo>
                    <a:pt x="764" y="177"/>
                  </a:lnTo>
                  <a:lnTo>
                    <a:pt x="764" y="113"/>
                  </a:lnTo>
                  <a:lnTo>
                    <a:pt x="781" y="81"/>
                  </a:lnTo>
                  <a:lnTo>
                    <a:pt x="729" y="65"/>
                  </a:lnTo>
                  <a:lnTo>
                    <a:pt x="695" y="96"/>
                  </a:lnTo>
                  <a:lnTo>
                    <a:pt x="624" y="113"/>
                  </a:lnTo>
                  <a:lnTo>
                    <a:pt x="572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09" name="Freeform 170">
              <a:extLst>
                <a:ext uri="{FF2B5EF4-FFF2-40B4-BE49-F238E27FC236}">
                  <a16:creationId xmlns:a16="http://schemas.microsoft.com/office/drawing/2014/main" id="{02C0C182-D153-4521-B4CD-A00157E20254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7145337" y="2357438"/>
              <a:ext cx="25400" cy="38100"/>
            </a:xfrm>
            <a:custGeom>
              <a:avLst/>
              <a:gdLst>
                <a:gd name="T0" fmla="*/ 6158 w 33"/>
                <a:gd name="T1" fmla="*/ 9525 h 48"/>
                <a:gd name="T2" fmla="*/ 6158 w 33"/>
                <a:gd name="T3" fmla="*/ 9525 h 48"/>
                <a:gd name="T4" fmla="*/ 6158 w 33"/>
                <a:gd name="T5" fmla="*/ 3969 h 48"/>
                <a:gd name="T6" fmla="*/ 0 w 33"/>
                <a:gd name="T7" fmla="*/ 0 h 48"/>
                <a:gd name="T8" fmla="*/ 0 w 33"/>
                <a:gd name="T9" fmla="*/ 3969 h 48"/>
                <a:gd name="T10" fmla="*/ 6158 w 33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0" name="Freeform 171">
              <a:extLst>
                <a:ext uri="{FF2B5EF4-FFF2-40B4-BE49-F238E27FC236}">
                  <a16:creationId xmlns:a16="http://schemas.microsoft.com/office/drawing/2014/main" id="{A4480EFF-4270-45F7-AB98-0E66E7F3BBAD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300661" y="2092327"/>
              <a:ext cx="3548063" cy="1636713"/>
            </a:xfrm>
            <a:custGeom>
              <a:avLst/>
              <a:gdLst>
                <a:gd name="T0" fmla="*/ 436660 w 4469"/>
                <a:gd name="T1" fmla="*/ 82510 h 2063"/>
                <a:gd name="T2" fmla="*/ 436660 w 4469"/>
                <a:gd name="T3" fmla="*/ 15867 h 2063"/>
                <a:gd name="T4" fmla="*/ 361237 w 4469"/>
                <a:gd name="T5" fmla="*/ 34908 h 2063"/>
                <a:gd name="T6" fmla="*/ 296135 w 4469"/>
                <a:gd name="T7" fmla="*/ 117418 h 2063"/>
                <a:gd name="T8" fmla="*/ 261996 w 4469"/>
                <a:gd name="T9" fmla="*/ 104724 h 2063"/>
                <a:gd name="T10" fmla="*/ 261996 w 4469"/>
                <a:gd name="T11" fmla="*/ 174540 h 2063"/>
                <a:gd name="T12" fmla="*/ 244530 w 4469"/>
                <a:gd name="T13" fmla="*/ 117418 h 2063"/>
                <a:gd name="T14" fmla="*/ 217536 w 4469"/>
                <a:gd name="T15" fmla="*/ 145979 h 2063"/>
                <a:gd name="T16" fmla="*/ 179428 w 4469"/>
                <a:gd name="T17" fmla="*/ 158673 h 2063"/>
                <a:gd name="T18" fmla="*/ 113532 w 4469"/>
                <a:gd name="T19" fmla="*/ 180887 h 2063"/>
                <a:gd name="T20" fmla="*/ 93683 w 4469"/>
                <a:gd name="T21" fmla="*/ 180887 h 2063"/>
                <a:gd name="T22" fmla="*/ 52399 w 4469"/>
                <a:gd name="T23" fmla="*/ 209448 h 2063"/>
                <a:gd name="T24" fmla="*/ 34933 w 4469"/>
                <a:gd name="T25" fmla="*/ 184061 h 2063"/>
                <a:gd name="T26" fmla="*/ 27787 w 4469"/>
                <a:gd name="T27" fmla="*/ 142806 h 2063"/>
                <a:gd name="T28" fmla="*/ 14291 w 4469"/>
                <a:gd name="T29" fmla="*/ 180887 h 2063"/>
                <a:gd name="T30" fmla="*/ 14291 w 4469"/>
                <a:gd name="T31" fmla="*/ 246737 h 2063"/>
                <a:gd name="T32" fmla="*/ 3970 w 4469"/>
                <a:gd name="T33" fmla="*/ 279265 h 2063"/>
                <a:gd name="T34" fmla="*/ 21436 w 4469"/>
                <a:gd name="T35" fmla="*/ 307826 h 2063"/>
                <a:gd name="T36" fmla="*/ 38109 w 4469"/>
                <a:gd name="T37" fmla="*/ 330040 h 2063"/>
                <a:gd name="T38" fmla="*/ 55575 w 4469"/>
                <a:gd name="T39" fmla="*/ 341940 h 2063"/>
                <a:gd name="T40" fmla="*/ 69072 w 4469"/>
                <a:gd name="T41" fmla="*/ 370502 h 2063"/>
                <a:gd name="T42" fmla="*/ 86538 w 4469"/>
                <a:gd name="T43" fmla="*/ 396683 h 2063"/>
                <a:gd name="T44" fmla="*/ 110356 w 4469"/>
                <a:gd name="T45" fmla="*/ 399063 h 2063"/>
                <a:gd name="T46" fmla="*/ 117501 w 4469"/>
                <a:gd name="T47" fmla="*/ 374468 h 2063"/>
                <a:gd name="T48" fmla="*/ 120677 w 4469"/>
                <a:gd name="T49" fmla="*/ 349081 h 2063"/>
                <a:gd name="T50" fmla="*/ 161961 w 4469"/>
                <a:gd name="T51" fmla="*/ 339560 h 2063"/>
                <a:gd name="T52" fmla="*/ 182603 w 4469"/>
                <a:gd name="T53" fmla="*/ 326867 h 2063"/>
                <a:gd name="T54" fmla="*/ 237384 w 4469"/>
                <a:gd name="T55" fmla="*/ 303859 h 2063"/>
                <a:gd name="T56" fmla="*/ 265172 w 4469"/>
                <a:gd name="T57" fmla="*/ 313379 h 2063"/>
                <a:gd name="T58" fmla="*/ 316777 w 4469"/>
                <a:gd name="T59" fmla="*/ 349081 h 2063"/>
                <a:gd name="T60" fmla="*/ 350916 w 4469"/>
                <a:gd name="T61" fmla="*/ 341940 h 2063"/>
                <a:gd name="T62" fmla="*/ 406491 w 4469"/>
                <a:gd name="T63" fmla="*/ 336387 h 2063"/>
                <a:gd name="T64" fmla="*/ 474769 w 4469"/>
                <a:gd name="T65" fmla="*/ 345907 h 2063"/>
                <a:gd name="T66" fmla="*/ 505732 w 4469"/>
                <a:gd name="T67" fmla="*/ 330040 h 2063"/>
                <a:gd name="T68" fmla="*/ 564483 w 4469"/>
                <a:gd name="T69" fmla="*/ 358601 h 2063"/>
                <a:gd name="T70" fmla="*/ 564483 w 4469"/>
                <a:gd name="T71" fmla="*/ 387162 h 2063"/>
                <a:gd name="T72" fmla="*/ 585125 w 4469"/>
                <a:gd name="T73" fmla="*/ 396683 h 2063"/>
                <a:gd name="T74" fmla="*/ 605767 w 4469"/>
                <a:gd name="T75" fmla="*/ 320520 h 2063"/>
                <a:gd name="T76" fmla="*/ 598621 w 4469"/>
                <a:gd name="T77" fmla="*/ 298305 h 2063"/>
                <a:gd name="T78" fmla="*/ 674045 w 4469"/>
                <a:gd name="T79" fmla="*/ 265777 h 2063"/>
                <a:gd name="T80" fmla="*/ 722474 w 4469"/>
                <a:gd name="T81" fmla="*/ 241183 h 2063"/>
                <a:gd name="T82" fmla="*/ 739941 w 4469"/>
                <a:gd name="T83" fmla="*/ 253877 h 2063"/>
                <a:gd name="T84" fmla="*/ 719298 w 4469"/>
                <a:gd name="T85" fmla="*/ 322900 h 2063"/>
                <a:gd name="T86" fmla="*/ 739941 w 4469"/>
                <a:gd name="T87" fmla="*/ 298305 h 2063"/>
                <a:gd name="T88" fmla="*/ 739941 w 4469"/>
                <a:gd name="T89" fmla="*/ 269744 h 2063"/>
                <a:gd name="T90" fmla="*/ 778049 w 4469"/>
                <a:gd name="T91" fmla="*/ 263397 h 2063"/>
                <a:gd name="T92" fmla="*/ 818540 w 4469"/>
                <a:gd name="T93" fmla="*/ 209448 h 2063"/>
                <a:gd name="T94" fmla="*/ 846327 w 4469"/>
                <a:gd name="T95" fmla="*/ 199928 h 2063"/>
                <a:gd name="T96" fmla="*/ 877290 w 4469"/>
                <a:gd name="T97" fmla="*/ 184061 h 2063"/>
                <a:gd name="T98" fmla="*/ 767728 w 4469"/>
                <a:gd name="T99" fmla="*/ 152326 h 2063"/>
                <a:gd name="T100" fmla="*/ 725650 w 4469"/>
                <a:gd name="T101" fmla="*/ 145979 h 2063"/>
                <a:gd name="T102" fmla="*/ 670869 w 4469"/>
                <a:gd name="T103" fmla="*/ 120592 h 2063"/>
                <a:gd name="T104" fmla="*/ 595446 w 4469"/>
                <a:gd name="T105" fmla="*/ 117418 h 2063"/>
                <a:gd name="T106" fmla="*/ 557337 w 4469"/>
                <a:gd name="T107" fmla="*/ 98377 h 2063"/>
                <a:gd name="T108" fmla="*/ 499381 w 4469"/>
                <a:gd name="T109" fmla="*/ 82510 h 20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69"/>
                <a:gd name="T166" fmla="*/ 0 h 2063"/>
                <a:gd name="T167" fmla="*/ 4469 w 4469"/>
                <a:gd name="T168" fmla="*/ 2063 h 20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69" h="2063">
                  <a:moveTo>
                    <a:pt x="2269" y="384"/>
                  </a:moveTo>
                  <a:lnTo>
                    <a:pt x="2269" y="384"/>
                  </a:lnTo>
                  <a:lnTo>
                    <a:pt x="2252" y="401"/>
                  </a:lnTo>
                  <a:lnTo>
                    <a:pt x="2269" y="432"/>
                  </a:lnTo>
                  <a:lnTo>
                    <a:pt x="2200" y="465"/>
                  </a:lnTo>
                  <a:lnTo>
                    <a:pt x="2183" y="465"/>
                  </a:lnTo>
                  <a:lnTo>
                    <a:pt x="2200" y="417"/>
                  </a:lnTo>
                  <a:lnTo>
                    <a:pt x="2375" y="273"/>
                  </a:lnTo>
                  <a:lnTo>
                    <a:pt x="2375" y="177"/>
                  </a:lnTo>
                  <a:lnTo>
                    <a:pt x="2304" y="113"/>
                  </a:lnTo>
                  <a:lnTo>
                    <a:pt x="2218" y="113"/>
                  </a:lnTo>
                  <a:lnTo>
                    <a:pt x="2218" y="144"/>
                  </a:lnTo>
                  <a:lnTo>
                    <a:pt x="2166" y="144"/>
                  </a:lnTo>
                  <a:lnTo>
                    <a:pt x="2200" y="81"/>
                  </a:lnTo>
                  <a:lnTo>
                    <a:pt x="2114" y="65"/>
                  </a:lnTo>
                  <a:lnTo>
                    <a:pt x="2166" y="33"/>
                  </a:lnTo>
                  <a:lnTo>
                    <a:pt x="2114" y="0"/>
                  </a:lnTo>
                  <a:lnTo>
                    <a:pt x="2028" y="81"/>
                  </a:lnTo>
                  <a:lnTo>
                    <a:pt x="2028" y="144"/>
                  </a:lnTo>
                  <a:lnTo>
                    <a:pt x="1976" y="144"/>
                  </a:lnTo>
                  <a:lnTo>
                    <a:pt x="1820" y="177"/>
                  </a:lnTo>
                  <a:lnTo>
                    <a:pt x="1682" y="257"/>
                  </a:lnTo>
                  <a:lnTo>
                    <a:pt x="1630" y="321"/>
                  </a:lnTo>
                  <a:lnTo>
                    <a:pt x="1647" y="401"/>
                  </a:lnTo>
                  <a:lnTo>
                    <a:pt x="1455" y="432"/>
                  </a:lnTo>
                  <a:lnTo>
                    <a:pt x="1473" y="528"/>
                  </a:lnTo>
                  <a:lnTo>
                    <a:pt x="1525" y="576"/>
                  </a:lnTo>
                  <a:lnTo>
                    <a:pt x="1490" y="593"/>
                  </a:lnTo>
                  <a:lnTo>
                    <a:pt x="1438" y="528"/>
                  </a:lnTo>
                  <a:lnTo>
                    <a:pt x="1386" y="512"/>
                  </a:lnTo>
                  <a:lnTo>
                    <a:pt x="1369" y="528"/>
                  </a:lnTo>
                  <a:lnTo>
                    <a:pt x="1334" y="497"/>
                  </a:lnTo>
                  <a:lnTo>
                    <a:pt x="1300" y="465"/>
                  </a:lnTo>
                  <a:lnTo>
                    <a:pt x="1300" y="480"/>
                  </a:lnTo>
                  <a:lnTo>
                    <a:pt x="1317" y="528"/>
                  </a:lnTo>
                  <a:lnTo>
                    <a:pt x="1265" y="608"/>
                  </a:lnTo>
                  <a:lnTo>
                    <a:pt x="1300" y="672"/>
                  </a:lnTo>
                  <a:lnTo>
                    <a:pt x="1283" y="737"/>
                  </a:lnTo>
                  <a:lnTo>
                    <a:pt x="1283" y="785"/>
                  </a:lnTo>
                  <a:lnTo>
                    <a:pt x="1334" y="785"/>
                  </a:lnTo>
                  <a:lnTo>
                    <a:pt x="1300" y="800"/>
                  </a:lnTo>
                  <a:lnTo>
                    <a:pt x="1317" y="881"/>
                  </a:lnTo>
                  <a:lnTo>
                    <a:pt x="1214" y="960"/>
                  </a:lnTo>
                  <a:lnTo>
                    <a:pt x="1196" y="944"/>
                  </a:lnTo>
                  <a:lnTo>
                    <a:pt x="1265" y="864"/>
                  </a:lnTo>
                  <a:lnTo>
                    <a:pt x="1283" y="816"/>
                  </a:lnTo>
                  <a:lnTo>
                    <a:pt x="1248" y="785"/>
                  </a:lnTo>
                  <a:lnTo>
                    <a:pt x="1248" y="624"/>
                  </a:lnTo>
                  <a:lnTo>
                    <a:pt x="1231" y="593"/>
                  </a:lnTo>
                  <a:lnTo>
                    <a:pt x="1248" y="497"/>
                  </a:lnTo>
                  <a:lnTo>
                    <a:pt x="1214" y="480"/>
                  </a:lnTo>
                  <a:lnTo>
                    <a:pt x="1231" y="465"/>
                  </a:lnTo>
                  <a:lnTo>
                    <a:pt x="1214" y="432"/>
                  </a:lnTo>
                  <a:lnTo>
                    <a:pt x="1179" y="449"/>
                  </a:lnTo>
                  <a:lnTo>
                    <a:pt x="1093" y="656"/>
                  </a:lnTo>
                  <a:lnTo>
                    <a:pt x="1093" y="737"/>
                  </a:lnTo>
                  <a:lnTo>
                    <a:pt x="1144" y="800"/>
                  </a:lnTo>
                  <a:lnTo>
                    <a:pt x="1144" y="833"/>
                  </a:lnTo>
                  <a:lnTo>
                    <a:pt x="1093" y="800"/>
                  </a:lnTo>
                  <a:lnTo>
                    <a:pt x="885" y="672"/>
                  </a:lnTo>
                  <a:lnTo>
                    <a:pt x="868" y="704"/>
                  </a:lnTo>
                  <a:lnTo>
                    <a:pt x="937" y="785"/>
                  </a:lnTo>
                  <a:lnTo>
                    <a:pt x="903" y="800"/>
                  </a:lnTo>
                  <a:lnTo>
                    <a:pt x="885" y="785"/>
                  </a:lnTo>
                  <a:lnTo>
                    <a:pt x="780" y="816"/>
                  </a:lnTo>
                  <a:lnTo>
                    <a:pt x="762" y="848"/>
                  </a:lnTo>
                  <a:lnTo>
                    <a:pt x="745" y="816"/>
                  </a:lnTo>
                  <a:lnTo>
                    <a:pt x="745" y="785"/>
                  </a:lnTo>
                  <a:lnTo>
                    <a:pt x="572" y="881"/>
                  </a:lnTo>
                  <a:lnTo>
                    <a:pt x="572" y="912"/>
                  </a:lnTo>
                  <a:lnTo>
                    <a:pt x="538" y="929"/>
                  </a:lnTo>
                  <a:lnTo>
                    <a:pt x="486" y="896"/>
                  </a:lnTo>
                  <a:lnTo>
                    <a:pt x="538" y="864"/>
                  </a:lnTo>
                  <a:lnTo>
                    <a:pt x="521" y="816"/>
                  </a:lnTo>
                  <a:lnTo>
                    <a:pt x="451" y="800"/>
                  </a:lnTo>
                  <a:lnTo>
                    <a:pt x="469" y="833"/>
                  </a:lnTo>
                  <a:lnTo>
                    <a:pt x="469" y="912"/>
                  </a:lnTo>
                  <a:lnTo>
                    <a:pt x="486" y="944"/>
                  </a:lnTo>
                  <a:lnTo>
                    <a:pt x="469" y="977"/>
                  </a:lnTo>
                  <a:lnTo>
                    <a:pt x="417" y="960"/>
                  </a:lnTo>
                  <a:lnTo>
                    <a:pt x="348" y="1008"/>
                  </a:lnTo>
                  <a:lnTo>
                    <a:pt x="382" y="1073"/>
                  </a:lnTo>
                  <a:lnTo>
                    <a:pt x="279" y="1040"/>
                  </a:lnTo>
                  <a:lnTo>
                    <a:pt x="261" y="1056"/>
                  </a:lnTo>
                  <a:lnTo>
                    <a:pt x="296" y="1103"/>
                  </a:lnTo>
                  <a:lnTo>
                    <a:pt x="261" y="1103"/>
                  </a:lnTo>
                  <a:lnTo>
                    <a:pt x="210" y="1073"/>
                  </a:lnTo>
                  <a:lnTo>
                    <a:pt x="210" y="977"/>
                  </a:lnTo>
                  <a:lnTo>
                    <a:pt x="158" y="944"/>
                  </a:lnTo>
                  <a:lnTo>
                    <a:pt x="140" y="912"/>
                  </a:lnTo>
                  <a:lnTo>
                    <a:pt x="175" y="929"/>
                  </a:lnTo>
                  <a:lnTo>
                    <a:pt x="313" y="977"/>
                  </a:lnTo>
                  <a:lnTo>
                    <a:pt x="400" y="929"/>
                  </a:lnTo>
                  <a:lnTo>
                    <a:pt x="382" y="881"/>
                  </a:lnTo>
                  <a:lnTo>
                    <a:pt x="279" y="785"/>
                  </a:lnTo>
                  <a:lnTo>
                    <a:pt x="175" y="752"/>
                  </a:lnTo>
                  <a:lnTo>
                    <a:pt x="175" y="737"/>
                  </a:lnTo>
                  <a:lnTo>
                    <a:pt x="140" y="720"/>
                  </a:lnTo>
                  <a:lnTo>
                    <a:pt x="106" y="737"/>
                  </a:lnTo>
                  <a:lnTo>
                    <a:pt x="106" y="752"/>
                  </a:lnTo>
                  <a:lnTo>
                    <a:pt x="87" y="752"/>
                  </a:lnTo>
                  <a:lnTo>
                    <a:pt x="52" y="785"/>
                  </a:lnTo>
                  <a:lnTo>
                    <a:pt x="52" y="833"/>
                  </a:lnTo>
                  <a:lnTo>
                    <a:pt x="87" y="864"/>
                  </a:lnTo>
                  <a:lnTo>
                    <a:pt x="69" y="912"/>
                  </a:lnTo>
                  <a:lnTo>
                    <a:pt x="87" y="992"/>
                  </a:lnTo>
                  <a:lnTo>
                    <a:pt x="69" y="1040"/>
                  </a:lnTo>
                  <a:lnTo>
                    <a:pt x="106" y="1088"/>
                  </a:lnTo>
                  <a:lnTo>
                    <a:pt x="87" y="1121"/>
                  </a:lnTo>
                  <a:lnTo>
                    <a:pt x="123" y="1151"/>
                  </a:lnTo>
                  <a:lnTo>
                    <a:pt x="123" y="1169"/>
                  </a:lnTo>
                  <a:lnTo>
                    <a:pt x="69" y="1247"/>
                  </a:lnTo>
                  <a:lnTo>
                    <a:pt x="18" y="1280"/>
                  </a:lnTo>
                  <a:lnTo>
                    <a:pt x="35" y="1280"/>
                  </a:lnTo>
                  <a:lnTo>
                    <a:pt x="69" y="1313"/>
                  </a:lnTo>
                  <a:lnTo>
                    <a:pt x="35" y="1343"/>
                  </a:lnTo>
                  <a:lnTo>
                    <a:pt x="18" y="1361"/>
                  </a:lnTo>
                  <a:lnTo>
                    <a:pt x="0" y="1361"/>
                  </a:lnTo>
                  <a:lnTo>
                    <a:pt x="18" y="1409"/>
                  </a:lnTo>
                  <a:lnTo>
                    <a:pt x="18" y="1424"/>
                  </a:lnTo>
                  <a:lnTo>
                    <a:pt x="18" y="1439"/>
                  </a:lnTo>
                  <a:lnTo>
                    <a:pt x="18" y="1457"/>
                  </a:lnTo>
                  <a:lnTo>
                    <a:pt x="35" y="1487"/>
                  </a:lnTo>
                  <a:lnTo>
                    <a:pt x="87" y="1505"/>
                  </a:lnTo>
                  <a:lnTo>
                    <a:pt x="106" y="1520"/>
                  </a:lnTo>
                  <a:lnTo>
                    <a:pt x="106" y="1553"/>
                  </a:lnTo>
                  <a:lnTo>
                    <a:pt x="140" y="1600"/>
                  </a:lnTo>
                  <a:lnTo>
                    <a:pt x="158" y="1600"/>
                  </a:lnTo>
                  <a:lnTo>
                    <a:pt x="140" y="1631"/>
                  </a:lnTo>
                  <a:lnTo>
                    <a:pt x="123" y="1616"/>
                  </a:lnTo>
                  <a:lnTo>
                    <a:pt x="123" y="1631"/>
                  </a:lnTo>
                  <a:lnTo>
                    <a:pt x="140" y="1664"/>
                  </a:lnTo>
                  <a:lnTo>
                    <a:pt x="192" y="1664"/>
                  </a:lnTo>
                  <a:lnTo>
                    <a:pt x="210" y="1679"/>
                  </a:lnTo>
                  <a:lnTo>
                    <a:pt x="192" y="1679"/>
                  </a:lnTo>
                  <a:lnTo>
                    <a:pt x="210" y="1696"/>
                  </a:lnTo>
                  <a:lnTo>
                    <a:pt x="227" y="1696"/>
                  </a:lnTo>
                  <a:lnTo>
                    <a:pt x="244" y="1727"/>
                  </a:lnTo>
                  <a:lnTo>
                    <a:pt x="261" y="1744"/>
                  </a:lnTo>
                  <a:lnTo>
                    <a:pt x="279" y="1727"/>
                  </a:lnTo>
                  <a:lnTo>
                    <a:pt x="365" y="1775"/>
                  </a:lnTo>
                  <a:lnTo>
                    <a:pt x="348" y="1840"/>
                  </a:lnTo>
                  <a:lnTo>
                    <a:pt x="330" y="1823"/>
                  </a:lnTo>
                  <a:lnTo>
                    <a:pt x="313" y="1840"/>
                  </a:lnTo>
                  <a:lnTo>
                    <a:pt x="313" y="1871"/>
                  </a:lnTo>
                  <a:lnTo>
                    <a:pt x="330" y="1856"/>
                  </a:lnTo>
                  <a:lnTo>
                    <a:pt x="348" y="1871"/>
                  </a:lnTo>
                  <a:lnTo>
                    <a:pt x="296" y="1888"/>
                  </a:lnTo>
                  <a:lnTo>
                    <a:pt x="313" y="1904"/>
                  </a:lnTo>
                  <a:lnTo>
                    <a:pt x="279" y="1936"/>
                  </a:lnTo>
                  <a:lnTo>
                    <a:pt x="261" y="1936"/>
                  </a:lnTo>
                  <a:lnTo>
                    <a:pt x="279" y="1936"/>
                  </a:lnTo>
                  <a:lnTo>
                    <a:pt x="348" y="2000"/>
                  </a:lnTo>
                  <a:lnTo>
                    <a:pt x="434" y="2000"/>
                  </a:lnTo>
                  <a:lnTo>
                    <a:pt x="469" y="2015"/>
                  </a:lnTo>
                  <a:lnTo>
                    <a:pt x="503" y="2015"/>
                  </a:lnTo>
                  <a:lnTo>
                    <a:pt x="538" y="2048"/>
                  </a:lnTo>
                  <a:lnTo>
                    <a:pt x="555" y="2063"/>
                  </a:lnTo>
                  <a:lnTo>
                    <a:pt x="572" y="2063"/>
                  </a:lnTo>
                  <a:lnTo>
                    <a:pt x="590" y="2048"/>
                  </a:lnTo>
                  <a:lnTo>
                    <a:pt x="555" y="2015"/>
                  </a:lnTo>
                  <a:lnTo>
                    <a:pt x="555" y="1984"/>
                  </a:lnTo>
                  <a:lnTo>
                    <a:pt x="538" y="1952"/>
                  </a:lnTo>
                  <a:lnTo>
                    <a:pt x="572" y="1904"/>
                  </a:lnTo>
                  <a:lnTo>
                    <a:pt x="590" y="1919"/>
                  </a:lnTo>
                  <a:lnTo>
                    <a:pt x="607" y="1904"/>
                  </a:lnTo>
                  <a:lnTo>
                    <a:pt x="607" y="1888"/>
                  </a:lnTo>
                  <a:lnTo>
                    <a:pt x="590" y="1888"/>
                  </a:lnTo>
                  <a:lnTo>
                    <a:pt x="607" y="1871"/>
                  </a:lnTo>
                  <a:lnTo>
                    <a:pt x="590" y="1840"/>
                  </a:lnTo>
                  <a:lnTo>
                    <a:pt x="555" y="1840"/>
                  </a:lnTo>
                  <a:lnTo>
                    <a:pt x="538" y="1808"/>
                  </a:lnTo>
                  <a:lnTo>
                    <a:pt x="555" y="1727"/>
                  </a:lnTo>
                  <a:lnTo>
                    <a:pt x="590" y="1760"/>
                  </a:lnTo>
                  <a:lnTo>
                    <a:pt x="607" y="1760"/>
                  </a:lnTo>
                  <a:lnTo>
                    <a:pt x="590" y="1727"/>
                  </a:lnTo>
                  <a:lnTo>
                    <a:pt x="641" y="1679"/>
                  </a:lnTo>
                  <a:lnTo>
                    <a:pt x="676" y="1696"/>
                  </a:lnTo>
                  <a:lnTo>
                    <a:pt x="693" y="1679"/>
                  </a:lnTo>
                  <a:lnTo>
                    <a:pt x="728" y="1696"/>
                  </a:lnTo>
                  <a:lnTo>
                    <a:pt x="780" y="1727"/>
                  </a:lnTo>
                  <a:lnTo>
                    <a:pt x="814" y="1712"/>
                  </a:lnTo>
                  <a:lnTo>
                    <a:pt x="851" y="1712"/>
                  </a:lnTo>
                  <a:lnTo>
                    <a:pt x="868" y="1727"/>
                  </a:lnTo>
                  <a:lnTo>
                    <a:pt x="937" y="1727"/>
                  </a:lnTo>
                  <a:lnTo>
                    <a:pt x="954" y="1696"/>
                  </a:lnTo>
                  <a:lnTo>
                    <a:pt x="903" y="1679"/>
                  </a:lnTo>
                  <a:lnTo>
                    <a:pt x="937" y="1664"/>
                  </a:lnTo>
                  <a:lnTo>
                    <a:pt x="920" y="1648"/>
                  </a:lnTo>
                  <a:lnTo>
                    <a:pt x="937" y="1631"/>
                  </a:lnTo>
                  <a:lnTo>
                    <a:pt x="937" y="1583"/>
                  </a:lnTo>
                  <a:lnTo>
                    <a:pt x="972" y="1600"/>
                  </a:lnTo>
                  <a:lnTo>
                    <a:pt x="1127" y="1553"/>
                  </a:lnTo>
                  <a:lnTo>
                    <a:pt x="1127" y="1535"/>
                  </a:lnTo>
                  <a:lnTo>
                    <a:pt x="1144" y="1535"/>
                  </a:lnTo>
                  <a:lnTo>
                    <a:pt x="1196" y="1535"/>
                  </a:lnTo>
                  <a:lnTo>
                    <a:pt x="1214" y="1568"/>
                  </a:lnTo>
                  <a:lnTo>
                    <a:pt x="1214" y="1583"/>
                  </a:lnTo>
                  <a:lnTo>
                    <a:pt x="1231" y="1583"/>
                  </a:lnTo>
                  <a:lnTo>
                    <a:pt x="1265" y="1600"/>
                  </a:lnTo>
                  <a:lnTo>
                    <a:pt x="1265" y="1616"/>
                  </a:lnTo>
                  <a:lnTo>
                    <a:pt x="1300" y="1616"/>
                  </a:lnTo>
                  <a:lnTo>
                    <a:pt x="1334" y="1583"/>
                  </a:lnTo>
                  <a:lnTo>
                    <a:pt x="1369" y="1568"/>
                  </a:lnTo>
                  <a:lnTo>
                    <a:pt x="1386" y="1616"/>
                  </a:lnTo>
                  <a:lnTo>
                    <a:pt x="1455" y="1727"/>
                  </a:lnTo>
                  <a:lnTo>
                    <a:pt x="1473" y="1696"/>
                  </a:lnTo>
                  <a:lnTo>
                    <a:pt x="1490" y="1727"/>
                  </a:lnTo>
                  <a:lnTo>
                    <a:pt x="1542" y="1712"/>
                  </a:lnTo>
                  <a:lnTo>
                    <a:pt x="1596" y="1760"/>
                  </a:lnTo>
                  <a:lnTo>
                    <a:pt x="1630" y="1775"/>
                  </a:lnTo>
                  <a:lnTo>
                    <a:pt x="1630" y="1760"/>
                  </a:lnTo>
                  <a:lnTo>
                    <a:pt x="1647" y="1792"/>
                  </a:lnTo>
                  <a:lnTo>
                    <a:pt x="1630" y="1808"/>
                  </a:lnTo>
                  <a:lnTo>
                    <a:pt x="1665" y="1792"/>
                  </a:lnTo>
                  <a:lnTo>
                    <a:pt x="1682" y="1775"/>
                  </a:lnTo>
                  <a:lnTo>
                    <a:pt x="1768" y="1727"/>
                  </a:lnTo>
                  <a:lnTo>
                    <a:pt x="1837" y="1744"/>
                  </a:lnTo>
                  <a:lnTo>
                    <a:pt x="1872" y="1760"/>
                  </a:lnTo>
                  <a:lnTo>
                    <a:pt x="1941" y="1760"/>
                  </a:lnTo>
                  <a:lnTo>
                    <a:pt x="1941" y="1727"/>
                  </a:lnTo>
                  <a:lnTo>
                    <a:pt x="1941" y="1696"/>
                  </a:lnTo>
                  <a:lnTo>
                    <a:pt x="1976" y="1679"/>
                  </a:lnTo>
                  <a:lnTo>
                    <a:pt x="2045" y="1696"/>
                  </a:lnTo>
                  <a:lnTo>
                    <a:pt x="2079" y="1744"/>
                  </a:lnTo>
                  <a:lnTo>
                    <a:pt x="2097" y="1744"/>
                  </a:lnTo>
                  <a:lnTo>
                    <a:pt x="2131" y="1727"/>
                  </a:lnTo>
                  <a:lnTo>
                    <a:pt x="2235" y="1775"/>
                  </a:lnTo>
                  <a:lnTo>
                    <a:pt x="2287" y="1792"/>
                  </a:lnTo>
                  <a:lnTo>
                    <a:pt x="2358" y="1775"/>
                  </a:lnTo>
                  <a:lnTo>
                    <a:pt x="2392" y="1744"/>
                  </a:lnTo>
                  <a:lnTo>
                    <a:pt x="2444" y="1760"/>
                  </a:lnTo>
                  <a:lnTo>
                    <a:pt x="2479" y="1775"/>
                  </a:lnTo>
                  <a:lnTo>
                    <a:pt x="2530" y="1760"/>
                  </a:lnTo>
                  <a:lnTo>
                    <a:pt x="2548" y="1696"/>
                  </a:lnTo>
                  <a:lnTo>
                    <a:pt x="2565" y="1679"/>
                  </a:lnTo>
                  <a:lnTo>
                    <a:pt x="2565" y="1664"/>
                  </a:lnTo>
                  <a:lnTo>
                    <a:pt x="2548" y="1664"/>
                  </a:lnTo>
                  <a:lnTo>
                    <a:pt x="2565" y="1631"/>
                  </a:lnTo>
                  <a:lnTo>
                    <a:pt x="2634" y="1616"/>
                  </a:lnTo>
                  <a:lnTo>
                    <a:pt x="2686" y="1631"/>
                  </a:lnTo>
                  <a:lnTo>
                    <a:pt x="2721" y="1664"/>
                  </a:lnTo>
                  <a:lnTo>
                    <a:pt x="2755" y="1775"/>
                  </a:lnTo>
                  <a:lnTo>
                    <a:pt x="2790" y="1775"/>
                  </a:lnTo>
                  <a:lnTo>
                    <a:pt x="2841" y="1808"/>
                  </a:lnTo>
                  <a:lnTo>
                    <a:pt x="2841" y="1840"/>
                  </a:lnTo>
                  <a:lnTo>
                    <a:pt x="2876" y="1840"/>
                  </a:lnTo>
                  <a:lnTo>
                    <a:pt x="2945" y="1823"/>
                  </a:lnTo>
                  <a:lnTo>
                    <a:pt x="2945" y="1856"/>
                  </a:lnTo>
                  <a:lnTo>
                    <a:pt x="2893" y="1952"/>
                  </a:lnTo>
                  <a:lnTo>
                    <a:pt x="2876" y="1936"/>
                  </a:lnTo>
                  <a:lnTo>
                    <a:pt x="2841" y="1952"/>
                  </a:lnTo>
                  <a:lnTo>
                    <a:pt x="2859" y="2000"/>
                  </a:lnTo>
                  <a:lnTo>
                    <a:pt x="2841" y="2032"/>
                  </a:lnTo>
                  <a:lnTo>
                    <a:pt x="2859" y="2000"/>
                  </a:lnTo>
                  <a:lnTo>
                    <a:pt x="2876" y="2000"/>
                  </a:lnTo>
                  <a:lnTo>
                    <a:pt x="2876" y="2015"/>
                  </a:lnTo>
                  <a:lnTo>
                    <a:pt x="2893" y="2032"/>
                  </a:lnTo>
                  <a:lnTo>
                    <a:pt x="2945" y="2000"/>
                  </a:lnTo>
                  <a:lnTo>
                    <a:pt x="3103" y="1823"/>
                  </a:lnTo>
                  <a:lnTo>
                    <a:pt x="3103" y="1712"/>
                  </a:lnTo>
                  <a:lnTo>
                    <a:pt x="3120" y="1679"/>
                  </a:lnTo>
                  <a:lnTo>
                    <a:pt x="3120" y="1631"/>
                  </a:lnTo>
                  <a:lnTo>
                    <a:pt x="3085" y="1583"/>
                  </a:lnTo>
                  <a:lnTo>
                    <a:pt x="3068" y="1583"/>
                  </a:lnTo>
                  <a:lnTo>
                    <a:pt x="3049" y="1616"/>
                  </a:lnTo>
                  <a:lnTo>
                    <a:pt x="3014" y="1616"/>
                  </a:lnTo>
                  <a:lnTo>
                    <a:pt x="3032" y="1583"/>
                  </a:lnTo>
                  <a:lnTo>
                    <a:pt x="3014" y="1583"/>
                  </a:lnTo>
                  <a:lnTo>
                    <a:pt x="2997" y="1568"/>
                  </a:lnTo>
                  <a:lnTo>
                    <a:pt x="2962" y="1568"/>
                  </a:lnTo>
                  <a:lnTo>
                    <a:pt x="2962" y="1553"/>
                  </a:lnTo>
                  <a:lnTo>
                    <a:pt x="3014" y="1505"/>
                  </a:lnTo>
                  <a:lnTo>
                    <a:pt x="3172" y="1361"/>
                  </a:lnTo>
                  <a:lnTo>
                    <a:pt x="3241" y="1343"/>
                  </a:lnTo>
                  <a:lnTo>
                    <a:pt x="3258" y="1361"/>
                  </a:lnTo>
                  <a:lnTo>
                    <a:pt x="3275" y="1343"/>
                  </a:lnTo>
                  <a:lnTo>
                    <a:pt x="3327" y="1361"/>
                  </a:lnTo>
                  <a:lnTo>
                    <a:pt x="3344" y="1328"/>
                  </a:lnTo>
                  <a:lnTo>
                    <a:pt x="3396" y="1343"/>
                  </a:lnTo>
                  <a:lnTo>
                    <a:pt x="3414" y="1343"/>
                  </a:lnTo>
                  <a:lnTo>
                    <a:pt x="3396" y="1361"/>
                  </a:lnTo>
                  <a:lnTo>
                    <a:pt x="3396" y="1376"/>
                  </a:lnTo>
                  <a:lnTo>
                    <a:pt x="3500" y="1361"/>
                  </a:lnTo>
                  <a:lnTo>
                    <a:pt x="3483" y="1343"/>
                  </a:lnTo>
                  <a:lnTo>
                    <a:pt x="3552" y="1232"/>
                  </a:lnTo>
                  <a:lnTo>
                    <a:pt x="3638" y="1217"/>
                  </a:lnTo>
                  <a:lnTo>
                    <a:pt x="3638" y="1247"/>
                  </a:lnTo>
                  <a:lnTo>
                    <a:pt x="3638" y="1280"/>
                  </a:lnTo>
                  <a:lnTo>
                    <a:pt x="3725" y="1232"/>
                  </a:lnTo>
                  <a:lnTo>
                    <a:pt x="3725" y="1184"/>
                  </a:lnTo>
                  <a:lnTo>
                    <a:pt x="3759" y="1184"/>
                  </a:lnTo>
                  <a:lnTo>
                    <a:pt x="3742" y="1199"/>
                  </a:lnTo>
                  <a:lnTo>
                    <a:pt x="3725" y="1280"/>
                  </a:lnTo>
                  <a:lnTo>
                    <a:pt x="3690" y="1295"/>
                  </a:lnTo>
                  <a:lnTo>
                    <a:pt x="3586" y="1409"/>
                  </a:lnTo>
                  <a:lnTo>
                    <a:pt x="3552" y="1424"/>
                  </a:lnTo>
                  <a:lnTo>
                    <a:pt x="3517" y="1535"/>
                  </a:lnTo>
                  <a:lnTo>
                    <a:pt x="3552" y="1727"/>
                  </a:lnTo>
                  <a:lnTo>
                    <a:pt x="3586" y="1696"/>
                  </a:lnTo>
                  <a:lnTo>
                    <a:pt x="3621" y="1631"/>
                  </a:lnTo>
                  <a:lnTo>
                    <a:pt x="3638" y="1631"/>
                  </a:lnTo>
                  <a:lnTo>
                    <a:pt x="3638" y="1583"/>
                  </a:lnTo>
                  <a:lnTo>
                    <a:pt x="3655" y="1583"/>
                  </a:lnTo>
                  <a:lnTo>
                    <a:pt x="3690" y="1568"/>
                  </a:lnTo>
                  <a:lnTo>
                    <a:pt x="3673" y="1520"/>
                  </a:lnTo>
                  <a:lnTo>
                    <a:pt x="3707" y="1505"/>
                  </a:lnTo>
                  <a:lnTo>
                    <a:pt x="3725" y="1505"/>
                  </a:lnTo>
                  <a:lnTo>
                    <a:pt x="3725" y="1472"/>
                  </a:lnTo>
                  <a:lnTo>
                    <a:pt x="3707" y="1472"/>
                  </a:lnTo>
                  <a:lnTo>
                    <a:pt x="3725" y="1424"/>
                  </a:lnTo>
                  <a:lnTo>
                    <a:pt x="3707" y="1424"/>
                  </a:lnTo>
                  <a:lnTo>
                    <a:pt x="3690" y="1424"/>
                  </a:lnTo>
                  <a:lnTo>
                    <a:pt x="3690" y="1409"/>
                  </a:lnTo>
                  <a:lnTo>
                    <a:pt x="3725" y="1361"/>
                  </a:lnTo>
                  <a:lnTo>
                    <a:pt x="3725" y="1328"/>
                  </a:lnTo>
                  <a:lnTo>
                    <a:pt x="3759" y="1328"/>
                  </a:lnTo>
                  <a:lnTo>
                    <a:pt x="3813" y="1295"/>
                  </a:lnTo>
                  <a:lnTo>
                    <a:pt x="3813" y="1328"/>
                  </a:lnTo>
                  <a:lnTo>
                    <a:pt x="3830" y="1313"/>
                  </a:lnTo>
                  <a:lnTo>
                    <a:pt x="3882" y="1295"/>
                  </a:lnTo>
                  <a:lnTo>
                    <a:pt x="3917" y="1328"/>
                  </a:lnTo>
                  <a:lnTo>
                    <a:pt x="3934" y="1295"/>
                  </a:lnTo>
                  <a:lnTo>
                    <a:pt x="4107" y="1184"/>
                  </a:lnTo>
                  <a:lnTo>
                    <a:pt x="4158" y="1199"/>
                  </a:lnTo>
                  <a:lnTo>
                    <a:pt x="4176" y="1184"/>
                  </a:lnTo>
                  <a:lnTo>
                    <a:pt x="4141" y="1088"/>
                  </a:lnTo>
                  <a:lnTo>
                    <a:pt x="4124" y="1088"/>
                  </a:lnTo>
                  <a:lnTo>
                    <a:pt x="4124" y="1056"/>
                  </a:lnTo>
                  <a:lnTo>
                    <a:pt x="4141" y="1056"/>
                  </a:lnTo>
                  <a:lnTo>
                    <a:pt x="4176" y="1040"/>
                  </a:lnTo>
                  <a:lnTo>
                    <a:pt x="4210" y="1008"/>
                  </a:lnTo>
                  <a:lnTo>
                    <a:pt x="4193" y="977"/>
                  </a:lnTo>
                  <a:lnTo>
                    <a:pt x="4210" y="960"/>
                  </a:lnTo>
                  <a:lnTo>
                    <a:pt x="4228" y="1008"/>
                  </a:lnTo>
                  <a:lnTo>
                    <a:pt x="4262" y="1008"/>
                  </a:lnTo>
                  <a:lnTo>
                    <a:pt x="4297" y="1040"/>
                  </a:lnTo>
                  <a:lnTo>
                    <a:pt x="4383" y="1088"/>
                  </a:lnTo>
                  <a:lnTo>
                    <a:pt x="4400" y="1040"/>
                  </a:lnTo>
                  <a:lnTo>
                    <a:pt x="4400" y="1008"/>
                  </a:lnTo>
                  <a:lnTo>
                    <a:pt x="4435" y="1008"/>
                  </a:lnTo>
                  <a:lnTo>
                    <a:pt x="4469" y="977"/>
                  </a:lnTo>
                  <a:lnTo>
                    <a:pt x="4418" y="929"/>
                  </a:lnTo>
                  <a:lnTo>
                    <a:pt x="4331" y="912"/>
                  </a:lnTo>
                  <a:lnTo>
                    <a:pt x="4176" y="785"/>
                  </a:lnTo>
                  <a:lnTo>
                    <a:pt x="4072" y="720"/>
                  </a:lnTo>
                  <a:lnTo>
                    <a:pt x="3934" y="704"/>
                  </a:lnTo>
                  <a:lnTo>
                    <a:pt x="3934" y="785"/>
                  </a:lnTo>
                  <a:lnTo>
                    <a:pt x="3899" y="800"/>
                  </a:lnTo>
                  <a:lnTo>
                    <a:pt x="3865" y="768"/>
                  </a:lnTo>
                  <a:lnTo>
                    <a:pt x="3865" y="737"/>
                  </a:lnTo>
                  <a:lnTo>
                    <a:pt x="3882" y="737"/>
                  </a:lnTo>
                  <a:lnTo>
                    <a:pt x="3899" y="720"/>
                  </a:lnTo>
                  <a:lnTo>
                    <a:pt x="3865" y="720"/>
                  </a:lnTo>
                  <a:lnTo>
                    <a:pt x="3830" y="752"/>
                  </a:lnTo>
                  <a:lnTo>
                    <a:pt x="3742" y="737"/>
                  </a:lnTo>
                  <a:lnTo>
                    <a:pt x="3655" y="737"/>
                  </a:lnTo>
                  <a:lnTo>
                    <a:pt x="3621" y="720"/>
                  </a:lnTo>
                  <a:lnTo>
                    <a:pt x="3638" y="689"/>
                  </a:lnTo>
                  <a:lnTo>
                    <a:pt x="3604" y="641"/>
                  </a:lnTo>
                  <a:lnTo>
                    <a:pt x="3535" y="624"/>
                  </a:lnTo>
                  <a:lnTo>
                    <a:pt x="3431" y="656"/>
                  </a:lnTo>
                  <a:lnTo>
                    <a:pt x="3414" y="608"/>
                  </a:lnTo>
                  <a:lnTo>
                    <a:pt x="3379" y="608"/>
                  </a:lnTo>
                  <a:lnTo>
                    <a:pt x="3362" y="593"/>
                  </a:lnTo>
                  <a:lnTo>
                    <a:pt x="3362" y="545"/>
                  </a:lnTo>
                  <a:lnTo>
                    <a:pt x="3241" y="512"/>
                  </a:lnTo>
                  <a:lnTo>
                    <a:pt x="3103" y="480"/>
                  </a:lnTo>
                  <a:lnTo>
                    <a:pt x="3068" y="545"/>
                  </a:lnTo>
                  <a:lnTo>
                    <a:pt x="3103" y="593"/>
                  </a:lnTo>
                  <a:lnTo>
                    <a:pt x="2997" y="593"/>
                  </a:lnTo>
                  <a:lnTo>
                    <a:pt x="2980" y="593"/>
                  </a:lnTo>
                  <a:lnTo>
                    <a:pt x="2945" y="608"/>
                  </a:lnTo>
                  <a:lnTo>
                    <a:pt x="2893" y="560"/>
                  </a:lnTo>
                  <a:lnTo>
                    <a:pt x="2859" y="656"/>
                  </a:lnTo>
                  <a:lnTo>
                    <a:pt x="2824" y="641"/>
                  </a:lnTo>
                  <a:lnTo>
                    <a:pt x="2790" y="576"/>
                  </a:lnTo>
                  <a:lnTo>
                    <a:pt x="2807" y="497"/>
                  </a:lnTo>
                  <a:lnTo>
                    <a:pt x="2772" y="449"/>
                  </a:lnTo>
                  <a:lnTo>
                    <a:pt x="2669" y="417"/>
                  </a:lnTo>
                  <a:lnTo>
                    <a:pt x="2634" y="417"/>
                  </a:lnTo>
                  <a:lnTo>
                    <a:pt x="2617" y="449"/>
                  </a:lnTo>
                  <a:lnTo>
                    <a:pt x="2634" y="480"/>
                  </a:lnTo>
                  <a:lnTo>
                    <a:pt x="2496" y="465"/>
                  </a:lnTo>
                  <a:lnTo>
                    <a:pt x="2513" y="417"/>
                  </a:lnTo>
                  <a:lnTo>
                    <a:pt x="2427" y="401"/>
                  </a:lnTo>
                  <a:lnTo>
                    <a:pt x="2375" y="432"/>
                  </a:lnTo>
                  <a:lnTo>
                    <a:pt x="2269" y="384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1" name="Freeform 172">
              <a:extLst>
                <a:ext uri="{FF2B5EF4-FFF2-40B4-BE49-F238E27FC236}">
                  <a16:creationId xmlns:a16="http://schemas.microsoft.com/office/drawing/2014/main" id="{AEEEA366-B989-4671-BB57-2CD8BC3456CE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837237" y="2155826"/>
              <a:ext cx="371475" cy="468313"/>
            </a:xfrm>
            <a:custGeom>
              <a:avLst/>
              <a:gdLst>
                <a:gd name="T0" fmla="*/ 0 w 468"/>
                <a:gd name="T1" fmla="*/ 101428 h 591"/>
                <a:gd name="T2" fmla="*/ 0 w 468"/>
                <a:gd name="T3" fmla="*/ 101428 h 591"/>
                <a:gd name="T4" fmla="*/ 10319 w 468"/>
                <a:gd name="T5" fmla="*/ 113314 h 591"/>
                <a:gd name="T6" fmla="*/ 27781 w 468"/>
                <a:gd name="T7" fmla="*/ 116484 h 591"/>
                <a:gd name="T8" fmla="*/ 31750 w 468"/>
                <a:gd name="T9" fmla="*/ 113314 h 591"/>
                <a:gd name="T10" fmla="*/ 23812 w 468"/>
                <a:gd name="T11" fmla="*/ 106975 h 591"/>
                <a:gd name="T12" fmla="*/ 20638 w 468"/>
                <a:gd name="T13" fmla="*/ 101428 h 591"/>
                <a:gd name="T14" fmla="*/ 20638 w 468"/>
                <a:gd name="T15" fmla="*/ 84788 h 591"/>
                <a:gd name="T16" fmla="*/ 23812 w 468"/>
                <a:gd name="T17" fmla="*/ 78448 h 591"/>
                <a:gd name="T18" fmla="*/ 48419 w 468"/>
                <a:gd name="T19" fmla="*/ 40413 h 591"/>
                <a:gd name="T20" fmla="*/ 65881 w 468"/>
                <a:gd name="T21" fmla="*/ 28527 h 591"/>
                <a:gd name="T22" fmla="*/ 92869 w 468"/>
                <a:gd name="T23" fmla="*/ 15848 h 591"/>
                <a:gd name="T24" fmla="*/ 92869 w 468"/>
                <a:gd name="T25" fmla="*/ 2377 h 591"/>
                <a:gd name="T26" fmla="*/ 86519 w 468"/>
                <a:gd name="T27" fmla="*/ 0 h 591"/>
                <a:gd name="T28" fmla="*/ 79375 w 468"/>
                <a:gd name="T29" fmla="*/ 6339 h 591"/>
                <a:gd name="T30" fmla="*/ 73025 w 468"/>
                <a:gd name="T31" fmla="*/ 11886 h 591"/>
                <a:gd name="T32" fmla="*/ 62706 w 468"/>
                <a:gd name="T33" fmla="*/ 15848 h 591"/>
                <a:gd name="T34" fmla="*/ 52388 w 468"/>
                <a:gd name="T35" fmla="*/ 15848 h 591"/>
                <a:gd name="T36" fmla="*/ 42069 w 468"/>
                <a:gd name="T37" fmla="*/ 21395 h 591"/>
                <a:gd name="T38" fmla="*/ 31750 w 468"/>
                <a:gd name="T39" fmla="*/ 34866 h 591"/>
                <a:gd name="T40" fmla="*/ 20638 w 468"/>
                <a:gd name="T41" fmla="*/ 40413 h 591"/>
                <a:gd name="T42" fmla="*/ 20638 w 468"/>
                <a:gd name="T43" fmla="*/ 47544 h 591"/>
                <a:gd name="T44" fmla="*/ 17463 w 468"/>
                <a:gd name="T45" fmla="*/ 57053 h 591"/>
                <a:gd name="T46" fmla="*/ 10319 w 468"/>
                <a:gd name="T47" fmla="*/ 63393 h 591"/>
                <a:gd name="T48" fmla="*/ 14288 w 468"/>
                <a:gd name="T49" fmla="*/ 68939 h 591"/>
                <a:gd name="T50" fmla="*/ 10319 w 468"/>
                <a:gd name="T51" fmla="*/ 76071 h 591"/>
                <a:gd name="T52" fmla="*/ 3969 w 468"/>
                <a:gd name="T53" fmla="*/ 82410 h 591"/>
                <a:gd name="T54" fmla="*/ 7144 w 468"/>
                <a:gd name="T55" fmla="*/ 87957 h 591"/>
                <a:gd name="T56" fmla="*/ 0 w 468"/>
                <a:gd name="T57" fmla="*/ 91919 h 591"/>
                <a:gd name="T58" fmla="*/ 0 w 468"/>
                <a:gd name="T59" fmla="*/ 101428 h 5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8"/>
                <a:gd name="T91" fmla="*/ 0 h 591"/>
                <a:gd name="T92" fmla="*/ 468 w 468"/>
                <a:gd name="T93" fmla="*/ 591 h 5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8" h="591">
                  <a:moveTo>
                    <a:pt x="0" y="512"/>
                  </a:moveTo>
                  <a:lnTo>
                    <a:pt x="0" y="512"/>
                  </a:lnTo>
                  <a:lnTo>
                    <a:pt x="52" y="575"/>
                  </a:lnTo>
                  <a:lnTo>
                    <a:pt x="140" y="591"/>
                  </a:lnTo>
                  <a:lnTo>
                    <a:pt x="157" y="575"/>
                  </a:lnTo>
                  <a:lnTo>
                    <a:pt x="123" y="543"/>
                  </a:lnTo>
                  <a:lnTo>
                    <a:pt x="104" y="512"/>
                  </a:lnTo>
                  <a:lnTo>
                    <a:pt x="104" y="431"/>
                  </a:lnTo>
                  <a:lnTo>
                    <a:pt x="123" y="399"/>
                  </a:lnTo>
                  <a:lnTo>
                    <a:pt x="244" y="207"/>
                  </a:lnTo>
                  <a:lnTo>
                    <a:pt x="330" y="144"/>
                  </a:lnTo>
                  <a:lnTo>
                    <a:pt x="468" y="80"/>
                  </a:lnTo>
                  <a:lnTo>
                    <a:pt x="468" y="15"/>
                  </a:lnTo>
                  <a:lnTo>
                    <a:pt x="434" y="0"/>
                  </a:lnTo>
                  <a:lnTo>
                    <a:pt x="399" y="32"/>
                  </a:lnTo>
                  <a:lnTo>
                    <a:pt x="365" y="63"/>
                  </a:lnTo>
                  <a:lnTo>
                    <a:pt x="313" y="80"/>
                  </a:lnTo>
                  <a:lnTo>
                    <a:pt x="261" y="80"/>
                  </a:lnTo>
                  <a:lnTo>
                    <a:pt x="209" y="111"/>
                  </a:lnTo>
                  <a:lnTo>
                    <a:pt x="157" y="176"/>
                  </a:lnTo>
                  <a:lnTo>
                    <a:pt x="104" y="207"/>
                  </a:lnTo>
                  <a:lnTo>
                    <a:pt x="104" y="240"/>
                  </a:lnTo>
                  <a:lnTo>
                    <a:pt x="86" y="288"/>
                  </a:lnTo>
                  <a:lnTo>
                    <a:pt x="52" y="320"/>
                  </a:lnTo>
                  <a:lnTo>
                    <a:pt x="69" y="351"/>
                  </a:lnTo>
                  <a:lnTo>
                    <a:pt x="52" y="384"/>
                  </a:lnTo>
                  <a:lnTo>
                    <a:pt x="17" y="416"/>
                  </a:lnTo>
                  <a:lnTo>
                    <a:pt x="35" y="447"/>
                  </a:lnTo>
                  <a:lnTo>
                    <a:pt x="0" y="464"/>
                  </a:lnTo>
                  <a:lnTo>
                    <a:pt x="0" y="51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2" name="Freeform 173">
              <a:extLst>
                <a:ext uri="{FF2B5EF4-FFF2-40B4-BE49-F238E27FC236}">
                  <a16:creationId xmlns:a16="http://schemas.microsoft.com/office/drawing/2014/main" id="{11F73439-A5F6-4B47-8A82-66BE02BCE86E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767387" y="2676526"/>
              <a:ext cx="41275" cy="50800"/>
            </a:xfrm>
            <a:custGeom>
              <a:avLst/>
              <a:gdLst>
                <a:gd name="T0" fmla="*/ 0 w 52"/>
                <a:gd name="T1" fmla="*/ 12902 h 63"/>
                <a:gd name="T2" fmla="*/ 0 w 52"/>
                <a:gd name="T3" fmla="*/ 12902 h 63"/>
                <a:gd name="T4" fmla="*/ 7144 w 52"/>
                <a:gd name="T5" fmla="*/ 9676 h 63"/>
                <a:gd name="T6" fmla="*/ 10319 w 52"/>
                <a:gd name="T7" fmla="*/ 6451 h 63"/>
                <a:gd name="T8" fmla="*/ 3969 w 52"/>
                <a:gd name="T9" fmla="*/ 0 h 63"/>
                <a:gd name="T10" fmla="*/ 0 w 52"/>
                <a:gd name="T11" fmla="*/ 6451 h 63"/>
                <a:gd name="T12" fmla="*/ 0 w 52"/>
                <a:gd name="T13" fmla="*/ 12902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3" name="Freeform 174">
              <a:extLst>
                <a:ext uri="{FF2B5EF4-FFF2-40B4-BE49-F238E27FC236}">
                  <a16:creationId xmlns:a16="http://schemas.microsoft.com/office/drawing/2014/main" id="{0F1338FB-B583-4A2B-ADCE-3E4C7D8C6DC5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649912" y="2146301"/>
              <a:ext cx="155575" cy="44450"/>
            </a:xfrm>
            <a:custGeom>
              <a:avLst/>
              <a:gdLst>
                <a:gd name="T0" fmla="*/ 32544 w 196"/>
                <a:gd name="T1" fmla="*/ 3969 h 56"/>
                <a:gd name="T2" fmla="*/ 28575 w 196"/>
                <a:gd name="T3" fmla="*/ 3969 h 56"/>
                <a:gd name="T4" fmla="*/ 24606 w 196"/>
                <a:gd name="T5" fmla="*/ 3969 h 56"/>
                <a:gd name="T6" fmla="*/ 24606 w 196"/>
                <a:gd name="T7" fmla="*/ 7938 h 56"/>
                <a:gd name="T8" fmla="*/ 20637 w 196"/>
                <a:gd name="T9" fmla="*/ 11113 h 56"/>
                <a:gd name="T10" fmla="*/ 20637 w 196"/>
                <a:gd name="T11" fmla="*/ 7938 h 56"/>
                <a:gd name="T12" fmla="*/ 18256 w 196"/>
                <a:gd name="T13" fmla="*/ 7938 h 56"/>
                <a:gd name="T14" fmla="*/ 15081 w 196"/>
                <a:gd name="T15" fmla="*/ 3969 h 56"/>
                <a:gd name="T16" fmla="*/ 18256 w 196"/>
                <a:gd name="T17" fmla="*/ 3969 h 56"/>
                <a:gd name="T18" fmla="*/ 20637 w 196"/>
                <a:gd name="T19" fmla="*/ 3969 h 56"/>
                <a:gd name="T20" fmla="*/ 18256 w 196"/>
                <a:gd name="T21" fmla="*/ 3969 h 56"/>
                <a:gd name="T22" fmla="*/ 15081 w 196"/>
                <a:gd name="T23" fmla="*/ 3969 h 56"/>
                <a:gd name="T24" fmla="*/ 18256 w 196"/>
                <a:gd name="T25" fmla="*/ 3969 h 56"/>
                <a:gd name="T26" fmla="*/ 15081 w 196"/>
                <a:gd name="T27" fmla="*/ 0 h 56"/>
                <a:gd name="T28" fmla="*/ 10319 w 196"/>
                <a:gd name="T29" fmla="*/ 3969 h 56"/>
                <a:gd name="T30" fmla="*/ 7144 w 196"/>
                <a:gd name="T31" fmla="*/ 3969 h 56"/>
                <a:gd name="T32" fmla="*/ 3969 w 196"/>
                <a:gd name="T33" fmla="*/ 3969 h 56"/>
                <a:gd name="T34" fmla="*/ 0 w 196"/>
                <a:gd name="T35" fmla="*/ 3969 h 56"/>
                <a:gd name="T36" fmla="*/ 3969 w 196"/>
                <a:gd name="T37" fmla="*/ 0 h 56"/>
                <a:gd name="T38" fmla="*/ 10319 w 196"/>
                <a:gd name="T39" fmla="*/ 0 h 56"/>
                <a:gd name="T40" fmla="*/ 18256 w 196"/>
                <a:gd name="T41" fmla="*/ 0 h 56"/>
                <a:gd name="T42" fmla="*/ 20637 w 196"/>
                <a:gd name="T43" fmla="*/ 0 h 56"/>
                <a:gd name="T44" fmla="*/ 28575 w 196"/>
                <a:gd name="T45" fmla="*/ 0 h 56"/>
                <a:gd name="T46" fmla="*/ 32544 w 196"/>
                <a:gd name="T47" fmla="*/ 0 h 56"/>
                <a:gd name="T48" fmla="*/ 35719 w 196"/>
                <a:gd name="T49" fmla="*/ 0 h 56"/>
                <a:gd name="T50" fmla="*/ 38894 w 196"/>
                <a:gd name="T51" fmla="*/ 0 h 56"/>
                <a:gd name="T52" fmla="*/ 38894 w 196"/>
                <a:gd name="T53" fmla="*/ 3969 h 56"/>
                <a:gd name="T54" fmla="*/ 35719 w 196"/>
                <a:gd name="T55" fmla="*/ 3969 h 56"/>
                <a:gd name="T56" fmla="*/ 32544 w 196"/>
                <a:gd name="T57" fmla="*/ 3969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6"/>
                <a:gd name="T88" fmla="*/ 0 h 56"/>
                <a:gd name="T89" fmla="*/ 196 w 196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6" h="56">
                  <a:moveTo>
                    <a:pt x="161" y="17"/>
                  </a:moveTo>
                  <a:lnTo>
                    <a:pt x="144" y="17"/>
                  </a:lnTo>
                  <a:lnTo>
                    <a:pt x="125" y="17"/>
                  </a:lnTo>
                  <a:lnTo>
                    <a:pt x="125" y="37"/>
                  </a:lnTo>
                  <a:lnTo>
                    <a:pt x="107" y="56"/>
                  </a:lnTo>
                  <a:lnTo>
                    <a:pt x="107" y="37"/>
                  </a:lnTo>
                  <a:lnTo>
                    <a:pt x="90" y="3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107" y="17"/>
                  </a:lnTo>
                  <a:lnTo>
                    <a:pt x="90" y="1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73" y="0"/>
                  </a:lnTo>
                  <a:lnTo>
                    <a:pt x="54" y="17"/>
                  </a:lnTo>
                  <a:lnTo>
                    <a:pt x="36" y="17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90" y="0"/>
                  </a:lnTo>
                  <a:lnTo>
                    <a:pt x="107" y="0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196" y="17"/>
                  </a:lnTo>
                  <a:lnTo>
                    <a:pt x="178" y="17"/>
                  </a:lnTo>
                  <a:lnTo>
                    <a:pt x="161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4" name="Freeform 175">
              <a:extLst>
                <a:ext uri="{FF2B5EF4-FFF2-40B4-BE49-F238E27FC236}">
                  <a16:creationId xmlns:a16="http://schemas.microsoft.com/office/drawing/2014/main" id="{7E03471E-87AE-42F5-993F-00FF083BDE6E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76924" y="2087563"/>
              <a:ext cx="87313" cy="73025"/>
            </a:xfrm>
            <a:custGeom>
              <a:avLst/>
              <a:gdLst>
                <a:gd name="T0" fmla="*/ 18424 w 109"/>
                <a:gd name="T1" fmla="*/ 15081 h 92"/>
                <a:gd name="T2" fmla="*/ 15220 w 109"/>
                <a:gd name="T3" fmla="*/ 15081 h 92"/>
                <a:gd name="T4" fmla="*/ 11215 w 109"/>
                <a:gd name="T5" fmla="*/ 18256 h 92"/>
                <a:gd name="T6" fmla="*/ 7209 w 109"/>
                <a:gd name="T7" fmla="*/ 18256 h 92"/>
                <a:gd name="T8" fmla="*/ 0 w 109"/>
                <a:gd name="T9" fmla="*/ 15081 h 92"/>
                <a:gd name="T10" fmla="*/ 0 w 109"/>
                <a:gd name="T11" fmla="*/ 11112 h 92"/>
                <a:gd name="T12" fmla="*/ 4005 w 109"/>
                <a:gd name="T13" fmla="*/ 11112 h 92"/>
                <a:gd name="T14" fmla="*/ 11215 w 109"/>
                <a:gd name="T15" fmla="*/ 11112 h 92"/>
                <a:gd name="T16" fmla="*/ 11215 w 109"/>
                <a:gd name="T17" fmla="*/ 7938 h 92"/>
                <a:gd name="T18" fmla="*/ 7209 w 109"/>
                <a:gd name="T19" fmla="*/ 11112 h 92"/>
                <a:gd name="T20" fmla="*/ 7209 w 109"/>
                <a:gd name="T21" fmla="*/ 7938 h 92"/>
                <a:gd name="T22" fmla="*/ 11215 w 109"/>
                <a:gd name="T23" fmla="*/ 7938 h 92"/>
                <a:gd name="T24" fmla="*/ 15220 w 109"/>
                <a:gd name="T25" fmla="*/ 7938 h 92"/>
                <a:gd name="T26" fmla="*/ 18424 w 109"/>
                <a:gd name="T27" fmla="*/ 3969 h 92"/>
                <a:gd name="T28" fmla="*/ 22429 w 109"/>
                <a:gd name="T29" fmla="*/ 3969 h 92"/>
                <a:gd name="T30" fmla="*/ 22429 w 109"/>
                <a:gd name="T31" fmla="*/ 0 h 92"/>
                <a:gd name="T32" fmla="*/ 22429 w 109"/>
                <a:gd name="T33" fmla="*/ 3969 h 92"/>
                <a:gd name="T34" fmla="*/ 22429 w 109"/>
                <a:gd name="T35" fmla="*/ 7938 h 92"/>
                <a:gd name="T36" fmla="*/ 18424 w 109"/>
                <a:gd name="T37" fmla="*/ 7938 h 92"/>
                <a:gd name="T38" fmla="*/ 15220 w 109"/>
                <a:gd name="T39" fmla="*/ 7938 h 92"/>
                <a:gd name="T40" fmla="*/ 11215 w 109"/>
                <a:gd name="T41" fmla="*/ 11112 h 92"/>
                <a:gd name="T42" fmla="*/ 15220 w 109"/>
                <a:gd name="T43" fmla="*/ 11112 h 92"/>
                <a:gd name="T44" fmla="*/ 22429 w 109"/>
                <a:gd name="T45" fmla="*/ 11112 h 92"/>
                <a:gd name="T46" fmla="*/ 22429 w 109"/>
                <a:gd name="T47" fmla="*/ 15081 h 92"/>
                <a:gd name="T48" fmla="*/ 18424 w 109"/>
                <a:gd name="T49" fmla="*/ 15081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9"/>
                <a:gd name="T76" fmla="*/ 0 h 92"/>
                <a:gd name="T77" fmla="*/ 109 w 109"/>
                <a:gd name="T78" fmla="*/ 92 h 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9" h="92">
                  <a:moveTo>
                    <a:pt x="90" y="73"/>
                  </a:moveTo>
                  <a:lnTo>
                    <a:pt x="73" y="73"/>
                  </a:lnTo>
                  <a:lnTo>
                    <a:pt x="54" y="92"/>
                  </a:lnTo>
                  <a:lnTo>
                    <a:pt x="36" y="92"/>
                  </a:lnTo>
                  <a:lnTo>
                    <a:pt x="0" y="73"/>
                  </a:lnTo>
                  <a:lnTo>
                    <a:pt x="0" y="56"/>
                  </a:lnTo>
                  <a:lnTo>
                    <a:pt x="19" y="56"/>
                  </a:lnTo>
                  <a:lnTo>
                    <a:pt x="54" y="56"/>
                  </a:lnTo>
                  <a:lnTo>
                    <a:pt x="54" y="37"/>
                  </a:lnTo>
                  <a:lnTo>
                    <a:pt x="36" y="56"/>
                  </a:lnTo>
                  <a:lnTo>
                    <a:pt x="36" y="37"/>
                  </a:lnTo>
                  <a:lnTo>
                    <a:pt x="54" y="37"/>
                  </a:lnTo>
                  <a:lnTo>
                    <a:pt x="73" y="37"/>
                  </a:lnTo>
                  <a:lnTo>
                    <a:pt x="90" y="20"/>
                  </a:lnTo>
                  <a:lnTo>
                    <a:pt x="109" y="20"/>
                  </a:lnTo>
                  <a:lnTo>
                    <a:pt x="109" y="0"/>
                  </a:lnTo>
                  <a:lnTo>
                    <a:pt x="109" y="20"/>
                  </a:lnTo>
                  <a:lnTo>
                    <a:pt x="109" y="37"/>
                  </a:lnTo>
                  <a:lnTo>
                    <a:pt x="90" y="37"/>
                  </a:lnTo>
                  <a:lnTo>
                    <a:pt x="73" y="37"/>
                  </a:lnTo>
                  <a:lnTo>
                    <a:pt x="54" y="56"/>
                  </a:lnTo>
                  <a:lnTo>
                    <a:pt x="73" y="56"/>
                  </a:lnTo>
                  <a:lnTo>
                    <a:pt x="109" y="56"/>
                  </a:lnTo>
                  <a:lnTo>
                    <a:pt x="109" y="73"/>
                  </a:lnTo>
                  <a:lnTo>
                    <a:pt x="90" y="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5" name="Freeform 176">
              <a:extLst>
                <a:ext uri="{FF2B5EF4-FFF2-40B4-BE49-F238E27FC236}">
                  <a16:creationId xmlns:a16="http://schemas.microsoft.com/office/drawing/2014/main" id="{B284D2B4-0F66-46FB-9335-E9BFFA772F79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941888" y="2190751"/>
              <a:ext cx="282575" cy="161925"/>
            </a:xfrm>
            <a:custGeom>
              <a:avLst/>
              <a:gdLst>
                <a:gd name="T0" fmla="*/ 56198 w 357"/>
                <a:gd name="T1" fmla="*/ 29513 h 203"/>
                <a:gd name="T2" fmla="*/ 49866 w 357"/>
                <a:gd name="T3" fmla="*/ 29513 h 203"/>
                <a:gd name="T4" fmla="*/ 53032 w 357"/>
                <a:gd name="T5" fmla="*/ 25525 h 203"/>
                <a:gd name="T6" fmla="*/ 49866 w 357"/>
                <a:gd name="T7" fmla="*/ 18346 h 203"/>
                <a:gd name="T8" fmla="*/ 49866 w 357"/>
                <a:gd name="T9" fmla="*/ 18346 h 203"/>
                <a:gd name="T10" fmla="*/ 41951 w 357"/>
                <a:gd name="T11" fmla="*/ 18346 h 203"/>
                <a:gd name="T12" fmla="*/ 38785 w 357"/>
                <a:gd name="T13" fmla="*/ 29513 h 203"/>
                <a:gd name="T14" fmla="*/ 34827 w 357"/>
                <a:gd name="T15" fmla="*/ 36692 h 203"/>
                <a:gd name="T16" fmla="*/ 31661 w 357"/>
                <a:gd name="T17" fmla="*/ 40681 h 203"/>
                <a:gd name="T18" fmla="*/ 20580 w 357"/>
                <a:gd name="T19" fmla="*/ 36692 h 203"/>
                <a:gd name="T20" fmla="*/ 20580 w 357"/>
                <a:gd name="T21" fmla="*/ 29513 h 203"/>
                <a:gd name="T22" fmla="*/ 27703 w 357"/>
                <a:gd name="T23" fmla="*/ 29513 h 203"/>
                <a:gd name="T24" fmla="*/ 20580 w 357"/>
                <a:gd name="T25" fmla="*/ 29513 h 203"/>
                <a:gd name="T26" fmla="*/ 13456 w 357"/>
                <a:gd name="T27" fmla="*/ 29513 h 203"/>
                <a:gd name="T28" fmla="*/ 17414 w 357"/>
                <a:gd name="T29" fmla="*/ 22334 h 203"/>
                <a:gd name="T30" fmla="*/ 24537 w 357"/>
                <a:gd name="T31" fmla="*/ 22334 h 203"/>
                <a:gd name="T32" fmla="*/ 27703 w 357"/>
                <a:gd name="T33" fmla="*/ 18346 h 203"/>
                <a:gd name="T34" fmla="*/ 20580 w 357"/>
                <a:gd name="T35" fmla="*/ 18346 h 203"/>
                <a:gd name="T36" fmla="*/ 13456 w 357"/>
                <a:gd name="T37" fmla="*/ 22334 h 203"/>
                <a:gd name="T38" fmla="*/ 10290 w 357"/>
                <a:gd name="T39" fmla="*/ 18346 h 203"/>
                <a:gd name="T40" fmla="*/ 10290 w 357"/>
                <a:gd name="T41" fmla="*/ 18346 h 203"/>
                <a:gd name="T42" fmla="*/ 3166 w 357"/>
                <a:gd name="T43" fmla="*/ 15156 h 203"/>
                <a:gd name="T44" fmla="*/ 0 w 357"/>
                <a:gd name="T45" fmla="*/ 11167 h 203"/>
                <a:gd name="T46" fmla="*/ 0 w 357"/>
                <a:gd name="T47" fmla="*/ 3988 h 203"/>
                <a:gd name="T48" fmla="*/ 6332 w 357"/>
                <a:gd name="T49" fmla="*/ 3988 h 203"/>
                <a:gd name="T50" fmla="*/ 13456 w 357"/>
                <a:gd name="T51" fmla="*/ 3988 h 203"/>
                <a:gd name="T52" fmla="*/ 13456 w 357"/>
                <a:gd name="T53" fmla="*/ 3988 h 203"/>
                <a:gd name="T54" fmla="*/ 13456 w 357"/>
                <a:gd name="T55" fmla="*/ 7179 h 203"/>
                <a:gd name="T56" fmla="*/ 17414 w 357"/>
                <a:gd name="T57" fmla="*/ 3988 h 203"/>
                <a:gd name="T58" fmla="*/ 24537 w 357"/>
                <a:gd name="T59" fmla="*/ 7179 h 203"/>
                <a:gd name="T60" fmla="*/ 24537 w 357"/>
                <a:gd name="T61" fmla="*/ 7179 h 203"/>
                <a:gd name="T62" fmla="*/ 24537 w 357"/>
                <a:gd name="T63" fmla="*/ 0 h 203"/>
                <a:gd name="T64" fmla="*/ 31661 w 357"/>
                <a:gd name="T65" fmla="*/ 0 h 203"/>
                <a:gd name="T66" fmla="*/ 34827 w 357"/>
                <a:gd name="T67" fmla="*/ 3988 h 203"/>
                <a:gd name="T68" fmla="*/ 41951 w 357"/>
                <a:gd name="T69" fmla="*/ 3988 h 203"/>
                <a:gd name="T70" fmla="*/ 41951 w 357"/>
                <a:gd name="T71" fmla="*/ 11167 h 203"/>
                <a:gd name="T72" fmla="*/ 56198 w 357"/>
                <a:gd name="T73" fmla="*/ 18346 h 203"/>
                <a:gd name="T74" fmla="*/ 63322 w 357"/>
                <a:gd name="T75" fmla="*/ 18346 h 203"/>
                <a:gd name="T76" fmla="*/ 70446 w 357"/>
                <a:gd name="T77" fmla="*/ 29513 h 203"/>
                <a:gd name="T78" fmla="*/ 63322 w 357"/>
                <a:gd name="T79" fmla="*/ 33502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7"/>
                <a:gd name="T121" fmla="*/ 0 h 203"/>
                <a:gd name="T122" fmla="*/ 357 w 357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7" h="203">
                  <a:moveTo>
                    <a:pt x="286" y="167"/>
                  </a:moveTo>
                  <a:lnTo>
                    <a:pt x="286" y="148"/>
                  </a:lnTo>
                  <a:lnTo>
                    <a:pt x="269" y="148"/>
                  </a:lnTo>
                  <a:lnTo>
                    <a:pt x="252" y="148"/>
                  </a:lnTo>
                  <a:lnTo>
                    <a:pt x="269" y="148"/>
                  </a:lnTo>
                  <a:lnTo>
                    <a:pt x="269" y="128"/>
                  </a:lnTo>
                  <a:lnTo>
                    <a:pt x="252" y="109"/>
                  </a:lnTo>
                  <a:lnTo>
                    <a:pt x="252" y="92"/>
                  </a:lnTo>
                  <a:lnTo>
                    <a:pt x="269" y="92"/>
                  </a:lnTo>
                  <a:lnTo>
                    <a:pt x="252" y="92"/>
                  </a:lnTo>
                  <a:lnTo>
                    <a:pt x="231" y="92"/>
                  </a:lnTo>
                  <a:lnTo>
                    <a:pt x="213" y="92"/>
                  </a:lnTo>
                  <a:lnTo>
                    <a:pt x="213" y="128"/>
                  </a:lnTo>
                  <a:lnTo>
                    <a:pt x="196" y="148"/>
                  </a:lnTo>
                  <a:lnTo>
                    <a:pt x="179" y="148"/>
                  </a:lnTo>
                  <a:lnTo>
                    <a:pt x="179" y="184"/>
                  </a:lnTo>
                  <a:lnTo>
                    <a:pt x="179" y="203"/>
                  </a:lnTo>
                  <a:lnTo>
                    <a:pt x="160" y="203"/>
                  </a:lnTo>
                  <a:lnTo>
                    <a:pt x="125" y="203"/>
                  </a:lnTo>
                  <a:lnTo>
                    <a:pt x="106" y="184"/>
                  </a:lnTo>
                  <a:lnTo>
                    <a:pt x="71" y="148"/>
                  </a:lnTo>
                  <a:lnTo>
                    <a:pt x="106" y="148"/>
                  </a:lnTo>
                  <a:lnTo>
                    <a:pt x="125" y="148"/>
                  </a:lnTo>
                  <a:lnTo>
                    <a:pt x="142" y="148"/>
                  </a:lnTo>
                  <a:lnTo>
                    <a:pt x="125" y="148"/>
                  </a:lnTo>
                  <a:lnTo>
                    <a:pt x="106" y="148"/>
                  </a:lnTo>
                  <a:lnTo>
                    <a:pt x="89" y="148"/>
                  </a:lnTo>
                  <a:lnTo>
                    <a:pt x="71" y="148"/>
                  </a:lnTo>
                  <a:lnTo>
                    <a:pt x="71" y="128"/>
                  </a:lnTo>
                  <a:lnTo>
                    <a:pt x="89" y="109"/>
                  </a:lnTo>
                  <a:lnTo>
                    <a:pt x="106" y="109"/>
                  </a:lnTo>
                  <a:lnTo>
                    <a:pt x="125" y="109"/>
                  </a:lnTo>
                  <a:lnTo>
                    <a:pt x="125" y="92"/>
                  </a:lnTo>
                  <a:lnTo>
                    <a:pt x="142" y="92"/>
                  </a:lnTo>
                  <a:lnTo>
                    <a:pt x="125" y="92"/>
                  </a:lnTo>
                  <a:lnTo>
                    <a:pt x="106" y="92"/>
                  </a:lnTo>
                  <a:lnTo>
                    <a:pt x="89" y="92"/>
                  </a:lnTo>
                  <a:lnTo>
                    <a:pt x="71" y="109"/>
                  </a:lnTo>
                  <a:lnTo>
                    <a:pt x="54" y="109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17" y="73"/>
                  </a:lnTo>
                  <a:lnTo>
                    <a:pt x="17" y="54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35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89" y="36"/>
                  </a:lnTo>
                  <a:lnTo>
                    <a:pt x="71" y="36"/>
                  </a:lnTo>
                  <a:lnTo>
                    <a:pt x="71" y="19"/>
                  </a:lnTo>
                  <a:lnTo>
                    <a:pt x="89" y="19"/>
                  </a:lnTo>
                  <a:lnTo>
                    <a:pt x="125" y="19"/>
                  </a:lnTo>
                  <a:lnTo>
                    <a:pt x="125" y="36"/>
                  </a:lnTo>
                  <a:lnTo>
                    <a:pt x="142" y="54"/>
                  </a:lnTo>
                  <a:lnTo>
                    <a:pt x="125" y="36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60" y="0"/>
                  </a:lnTo>
                  <a:lnTo>
                    <a:pt x="179" y="0"/>
                  </a:lnTo>
                  <a:lnTo>
                    <a:pt x="179" y="19"/>
                  </a:lnTo>
                  <a:lnTo>
                    <a:pt x="196" y="19"/>
                  </a:lnTo>
                  <a:lnTo>
                    <a:pt x="213" y="19"/>
                  </a:lnTo>
                  <a:lnTo>
                    <a:pt x="213" y="36"/>
                  </a:lnTo>
                  <a:lnTo>
                    <a:pt x="213" y="54"/>
                  </a:lnTo>
                  <a:lnTo>
                    <a:pt x="269" y="73"/>
                  </a:lnTo>
                  <a:lnTo>
                    <a:pt x="286" y="92"/>
                  </a:lnTo>
                  <a:lnTo>
                    <a:pt x="304" y="92"/>
                  </a:lnTo>
                  <a:lnTo>
                    <a:pt x="323" y="92"/>
                  </a:lnTo>
                  <a:lnTo>
                    <a:pt x="340" y="128"/>
                  </a:lnTo>
                  <a:lnTo>
                    <a:pt x="357" y="148"/>
                  </a:lnTo>
                  <a:lnTo>
                    <a:pt x="340" y="148"/>
                  </a:lnTo>
                  <a:lnTo>
                    <a:pt x="323" y="167"/>
                  </a:lnTo>
                  <a:lnTo>
                    <a:pt x="286" y="16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6" name="Freeform 177">
              <a:extLst>
                <a:ext uri="{FF2B5EF4-FFF2-40B4-BE49-F238E27FC236}">
                  <a16:creationId xmlns:a16="http://schemas.microsoft.com/office/drawing/2014/main" id="{1E226205-2634-479F-84AF-6E7E6E0B06D5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084762" y="2160588"/>
              <a:ext cx="198438" cy="73025"/>
            </a:xfrm>
            <a:custGeom>
              <a:avLst/>
              <a:gdLst>
                <a:gd name="T0" fmla="*/ 50207 w 249"/>
                <a:gd name="T1" fmla="*/ 7067 h 93"/>
                <a:gd name="T2" fmla="*/ 43035 w 249"/>
                <a:gd name="T3" fmla="*/ 10993 h 93"/>
                <a:gd name="T4" fmla="*/ 35862 w 249"/>
                <a:gd name="T5" fmla="*/ 14134 h 93"/>
                <a:gd name="T6" fmla="*/ 28690 w 249"/>
                <a:gd name="T7" fmla="*/ 18060 h 93"/>
                <a:gd name="T8" fmla="*/ 24705 w 249"/>
                <a:gd name="T9" fmla="*/ 18060 h 93"/>
                <a:gd name="T10" fmla="*/ 24705 w 249"/>
                <a:gd name="T11" fmla="*/ 14134 h 93"/>
                <a:gd name="T12" fmla="*/ 21517 w 249"/>
                <a:gd name="T13" fmla="*/ 14134 h 93"/>
                <a:gd name="T14" fmla="*/ 14345 w 249"/>
                <a:gd name="T15" fmla="*/ 14134 h 93"/>
                <a:gd name="T16" fmla="*/ 10360 w 249"/>
                <a:gd name="T17" fmla="*/ 14134 h 93"/>
                <a:gd name="T18" fmla="*/ 7172 w 249"/>
                <a:gd name="T19" fmla="*/ 10993 h 93"/>
                <a:gd name="T20" fmla="*/ 10360 w 249"/>
                <a:gd name="T21" fmla="*/ 10993 h 93"/>
                <a:gd name="T22" fmla="*/ 14345 w 249"/>
                <a:gd name="T23" fmla="*/ 10993 h 93"/>
                <a:gd name="T24" fmla="*/ 18330 w 249"/>
                <a:gd name="T25" fmla="*/ 10993 h 93"/>
                <a:gd name="T26" fmla="*/ 14345 w 249"/>
                <a:gd name="T27" fmla="*/ 10993 h 93"/>
                <a:gd name="T28" fmla="*/ 10360 w 249"/>
                <a:gd name="T29" fmla="*/ 10993 h 93"/>
                <a:gd name="T30" fmla="*/ 7172 w 249"/>
                <a:gd name="T31" fmla="*/ 10993 h 93"/>
                <a:gd name="T32" fmla="*/ 3985 w 249"/>
                <a:gd name="T33" fmla="*/ 7067 h 93"/>
                <a:gd name="T34" fmla="*/ 0 w 249"/>
                <a:gd name="T35" fmla="*/ 3926 h 93"/>
                <a:gd name="T36" fmla="*/ 0 w 249"/>
                <a:gd name="T37" fmla="*/ 0 h 93"/>
                <a:gd name="T38" fmla="*/ 3985 w 249"/>
                <a:gd name="T39" fmla="*/ 0 h 93"/>
                <a:gd name="T40" fmla="*/ 7172 w 249"/>
                <a:gd name="T41" fmla="*/ 3926 h 93"/>
                <a:gd name="T42" fmla="*/ 7172 w 249"/>
                <a:gd name="T43" fmla="*/ 0 h 93"/>
                <a:gd name="T44" fmla="*/ 10360 w 249"/>
                <a:gd name="T45" fmla="*/ 0 h 93"/>
                <a:gd name="T46" fmla="*/ 14345 w 249"/>
                <a:gd name="T47" fmla="*/ 0 h 93"/>
                <a:gd name="T48" fmla="*/ 21517 w 249"/>
                <a:gd name="T49" fmla="*/ 3926 h 93"/>
                <a:gd name="T50" fmla="*/ 24705 w 249"/>
                <a:gd name="T51" fmla="*/ 0 h 93"/>
                <a:gd name="T52" fmla="*/ 28690 w 249"/>
                <a:gd name="T53" fmla="*/ 0 h 93"/>
                <a:gd name="T54" fmla="*/ 28690 w 249"/>
                <a:gd name="T55" fmla="*/ 3926 h 93"/>
                <a:gd name="T56" fmla="*/ 32675 w 249"/>
                <a:gd name="T57" fmla="*/ 3926 h 93"/>
                <a:gd name="T58" fmla="*/ 32675 w 249"/>
                <a:gd name="T59" fmla="*/ 0 h 93"/>
                <a:gd name="T60" fmla="*/ 35862 w 249"/>
                <a:gd name="T61" fmla="*/ 0 h 93"/>
                <a:gd name="T62" fmla="*/ 39050 w 249"/>
                <a:gd name="T63" fmla="*/ 0 h 93"/>
                <a:gd name="T64" fmla="*/ 43035 w 249"/>
                <a:gd name="T65" fmla="*/ 0 h 93"/>
                <a:gd name="T66" fmla="*/ 43035 w 249"/>
                <a:gd name="T67" fmla="*/ 3926 h 93"/>
                <a:gd name="T68" fmla="*/ 46223 w 249"/>
                <a:gd name="T69" fmla="*/ 3926 h 93"/>
                <a:gd name="T70" fmla="*/ 50207 w 249"/>
                <a:gd name="T71" fmla="*/ 7067 h 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9"/>
                <a:gd name="T109" fmla="*/ 0 h 93"/>
                <a:gd name="T110" fmla="*/ 249 w 249"/>
                <a:gd name="T111" fmla="*/ 93 h 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9" h="93">
                  <a:moveTo>
                    <a:pt x="249" y="39"/>
                  </a:moveTo>
                  <a:lnTo>
                    <a:pt x="213" y="56"/>
                  </a:lnTo>
                  <a:lnTo>
                    <a:pt x="178" y="75"/>
                  </a:lnTo>
                  <a:lnTo>
                    <a:pt x="142" y="93"/>
                  </a:lnTo>
                  <a:lnTo>
                    <a:pt x="124" y="93"/>
                  </a:lnTo>
                  <a:lnTo>
                    <a:pt x="124" y="75"/>
                  </a:lnTo>
                  <a:lnTo>
                    <a:pt x="107" y="75"/>
                  </a:lnTo>
                  <a:lnTo>
                    <a:pt x="71" y="75"/>
                  </a:lnTo>
                  <a:lnTo>
                    <a:pt x="51" y="75"/>
                  </a:lnTo>
                  <a:lnTo>
                    <a:pt x="34" y="56"/>
                  </a:lnTo>
                  <a:lnTo>
                    <a:pt x="51" y="56"/>
                  </a:lnTo>
                  <a:lnTo>
                    <a:pt x="71" y="56"/>
                  </a:lnTo>
                  <a:lnTo>
                    <a:pt x="90" y="56"/>
                  </a:lnTo>
                  <a:lnTo>
                    <a:pt x="71" y="56"/>
                  </a:lnTo>
                  <a:lnTo>
                    <a:pt x="51" y="56"/>
                  </a:lnTo>
                  <a:lnTo>
                    <a:pt x="34" y="56"/>
                  </a:lnTo>
                  <a:lnTo>
                    <a:pt x="17" y="39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2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7" y="20"/>
                  </a:lnTo>
                  <a:lnTo>
                    <a:pt x="124" y="0"/>
                  </a:lnTo>
                  <a:lnTo>
                    <a:pt x="142" y="0"/>
                  </a:lnTo>
                  <a:lnTo>
                    <a:pt x="142" y="20"/>
                  </a:lnTo>
                  <a:lnTo>
                    <a:pt x="161" y="2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3" y="20"/>
                  </a:lnTo>
                  <a:lnTo>
                    <a:pt x="232" y="20"/>
                  </a:lnTo>
                  <a:lnTo>
                    <a:pt x="249" y="3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7" name="Freeform 178">
              <a:extLst>
                <a:ext uri="{FF2B5EF4-FFF2-40B4-BE49-F238E27FC236}">
                  <a16:creationId xmlns:a16="http://schemas.microsoft.com/office/drawing/2014/main" id="{51D55EFF-D8A4-41F0-BEAC-8D5EAD99DFE8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926013" y="2247901"/>
              <a:ext cx="28575" cy="30163"/>
            </a:xfrm>
            <a:custGeom>
              <a:avLst/>
              <a:gdLst>
                <a:gd name="T0" fmla="*/ 3969 w 36"/>
                <a:gd name="T1" fmla="*/ 0 h 36"/>
                <a:gd name="T2" fmla="*/ 3969 w 36"/>
                <a:gd name="T3" fmla="*/ 4189 h 36"/>
                <a:gd name="T4" fmla="*/ 7144 w 36"/>
                <a:gd name="T5" fmla="*/ 8379 h 36"/>
                <a:gd name="T6" fmla="*/ 3969 w 36"/>
                <a:gd name="T7" fmla="*/ 4189 h 36"/>
                <a:gd name="T8" fmla="*/ 0 w 36"/>
                <a:gd name="T9" fmla="*/ 4189 h 36"/>
                <a:gd name="T10" fmla="*/ 3969 w 36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19" y="0"/>
                  </a:moveTo>
                  <a:lnTo>
                    <a:pt x="19" y="19"/>
                  </a:lnTo>
                  <a:lnTo>
                    <a:pt x="36" y="36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8" name="Freeform 179">
              <a:extLst>
                <a:ext uri="{FF2B5EF4-FFF2-40B4-BE49-F238E27FC236}">
                  <a16:creationId xmlns:a16="http://schemas.microsoft.com/office/drawing/2014/main" id="{B81D0CE2-4FEF-4B69-B375-4A868BE896DF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135562" y="3309938"/>
              <a:ext cx="69850" cy="38100"/>
            </a:xfrm>
            <a:custGeom>
              <a:avLst/>
              <a:gdLst>
                <a:gd name="T0" fmla="*/ 18681 w 86"/>
                <a:gd name="T1" fmla="*/ 0 h 48"/>
                <a:gd name="T2" fmla="*/ 18681 w 86"/>
                <a:gd name="T3" fmla="*/ 0 h 48"/>
                <a:gd name="T4" fmla="*/ 18681 w 86"/>
                <a:gd name="T5" fmla="*/ 9525 h 48"/>
                <a:gd name="T6" fmla="*/ 11371 w 86"/>
                <a:gd name="T7" fmla="*/ 9525 h 48"/>
                <a:gd name="T8" fmla="*/ 0 w 86"/>
                <a:gd name="T9" fmla="*/ 7144 h 48"/>
                <a:gd name="T10" fmla="*/ 7310 w 86"/>
                <a:gd name="T11" fmla="*/ 3969 h 48"/>
                <a:gd name="T12" fmla="*/ 11371 w 86"/>
                <a:gd name="T13" fmla="*/ 0 h 48"/>
                <a:gd name="T14" fmla="*/ 18681 w 86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"/>
                <a:gd name="T25" fmla="*/ 0 h 48"/>
                <a:gd name="T26" fmla="*/ 86 w 8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" h="48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52" y="48"/>
                  </a:lnTo>
                  <a:lnTo>
                    <a:pt x="0" y="33"/>
                  </a:lnTo>
                  <a:lnTo>
                    <a:pt x="34" y="18"/>
                  </a:lnTo>
                  <a:lnTo>
                    <a:pt x="52" y="0"/>
                  </a:lnTo>
                  <a:lnTo>
                    <a:pt x="86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19" name="Freeform 180">
              <a:extLst>
                <a:ext uri="{FF2B5EF4-FFF2-40B4-BE49-F238E27FC236}">
                  <a16:creationId xmlns:a16="http://schemas.microsoft.com/office/drawing/2014/main" id="{46C8D5DC-E356-4AA2-8CFE-C6A6EF828AA3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927600" y="3297238"/>
              <a:ext cx="15875" cy="26988"/>
            </a:xfrm>
            <a:custGeom>
              <a:avLst/>
              <a:gdLst>
                <a:gd name="T0" fmla="*/ 0 w 19"/>
                <a:gd name="T1" fmla="*/ 3271 h 33"/>
                <a:gd name="T2" fmla="*/ 0 w 19"/>
                <a:gd name="T3" fmla="*/ 3271 h 33"/>
                <a:gd name="T4" fmla="*/ 0 w 19"/>
                <a:gd name="T5" fmla="*/ 7360 h 33"/>
                <a:gd name="T6" fmla="*/ 4178 w 19"/>
                <a:gd name="T7" fmla="*/ 7360 h 33"/>
                <a:gd name="T8" fmla="*/ 4178 w 19"/>
                <a:gd name="T9" fmla="*/ 3271 h 33"/>
                <a:gd name="T10" fmla="*/ 4178 w 19"/>
                <a:gd name="T11" fmla="*/ 0 h 33"/>
                <a:gd name="T12" fmla="*/ 0 w 19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0" name="Freeform 181">
              <a:extLst>
                <a:ext uri="{FF2B5EF4-FFF2-40B4-BE49-F238E27FC236}">
                  <a16:creationId xmlns:a16="http://schemas.microsoft.com/office/drawing/2014/main" id="{9525B22A-E3FF-4996-9DFF-A911F3892970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956174" y="3286126"/>
              <a:ext cx="28575" cy="23813"/>
            </a:xfrm>
            <a:custGeom>
              <a:avLst/>
              <a:gdLst>
                <a:gd name="T0" fmla="*/ 0 w 37"/>
                <a:gd name="T1" fmla="*/ 3175 h 30"/>
                <a:gd name="T2" fmla="*/ 0 w 37"/>
                <a:gd name="T3" fmla="*/ 3175 h 30"/>
                <a:gd name="T4" fmla="*/ 0 w 37"/>
                <a:gd name="T5" fmla="*/ 6350 h 30"/>
                <a:gd name="T6" fmla="*/ 6951 w 37"/>
                <a:gd name="T7" fmla="*/ 6350 h 30"/>
                <a:gd name="T8" fmla="*/ 6951 w 37"/>
                <a:gd name="T9" fmla="*/ 3175 h 30"/>
                <a:gd name="T10" fmla="*/ 6951 w 37"/>
                <a:gd name="T11" fmla="*/ 0 h 30"/>
                <a:gd name="T12" fmla="*/ 0 w 37"/>
                <a:gd name="T13" fmla="*/ 3175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0" y="15"/>
                  </a:lnTo>
                  <a:lnTo>
                    <a:pt x="0" y="30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1" name="Freeform 182">
              <a:extLst>
                <a:ext uri="{FF2B5EF4-FFF2-40B4-BE49-F238E27FC236}">
                  <a16:creationId xmlns:a16="http://schemas.microsoft.com/office/drawing/2014/main" id="{192C7F04-5872-46BC-AD1A-BB833AFD981F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956174" y="3324226"/>
              <a:ext cx="28575" cy="11113"/>
            </a:xfrm>
            <a:custGeom>
              <a:avLst/>
              <a:gdLst>
                <a:gd name="T0" fmla="*/ 0 w 37"/>
                <a:gd name="T1" fmla="*/ 0 h 15"/>
                <a:gd name="T2" fmla="*/ 0 w 37"/>
                <a:gd name="T3" fmla="*/ 0 h 15"/>
                <a:gd name="T4" fmla="*/ 0 w 37"/>
                <a:gd name="T5" fmla="*/ 2223 h 15"/>
                <a:gd name="T6" fmla="*/ 6951 w 37"/>
                <a:gd name="T7" fmla="*/ 0 h 15"/>
                <a:gd name="T8" fmla="*/ 0 w 3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15"/>
                <a:gd name="T17" fmla="*/ 37 w 3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2" name="Freeform 183">
              <a:extLst>
                <a:ext uri="{FF2B5EF4-FFF2-40B4-BE49-F238E27FC236}">
                  <a16:creationId xmlns:a16="http://schemas.microsoft.com/office/drawing/2014/main" id="{303CFF1B-A223-4A4F-962D-BE8B22EAE109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106987" y="3221038"/>
              <a:ext cx="28575" cy="26988"/>
            </a:xfrm>
            <a:custGeom>
              <a:avLst/>
              <a:gdLst>
                <a:gd name="T0" fmla="*/ 0 w 37"/>
                <a:gd name="T1" fmla="*/ 3271 h 33"/>
                <a:gd name="T2" fmla="*/ 0 w 37"/>
                <a:gd name="T3" fmla="*/ 3271 h 33"/>
                <a:gd name="T4" fmla="*/ 0 w 37"/>
                <a:gd name="T5" fmla="*/ 7360 h 33"/>
                <a:gd name="T6" fmla="*/ 3089 w 37"/>
                <a:gd name="T7" fmla="*/ 7360 h 33"/>
                <a:gd name="T8" fmla="*/ 3089 w 37"/>
                <a:gd name="T9" fmla="*/ 0 h 33"/>
                <a:gd name="T10" fmla="*/ 6951 w 37"/>
                <a:gd name="T11" fmla="*/ 0 h 33"/>
                <a:gd name="T12" fmla="*/ 0 w 37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3"/>
                <a:gd name="T23" fmla="*/ 37 w 3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3" name="Freeform 184">
              <a:extLst>
                <a:ext uri="{FF2B5EF4-FFF2-40B4-BE49-F238E27FC236}">
                  <a16:creationId xmlns:a16="http://schemas.microsoft.com/office/drawing/2014/main" id="{A853D136-C130-4CE6-A2BB-7171C13E8954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189537" y="3195638"/>
              <a:ext cx="28575" cy="14288"/>
            </a:xfrm>
            <a:custGeom>
              <a:avLst/>
              <a:gdLst>
                <a:gd name="T0" fmla="*/ 0 w 37"/>
                <a:gd name="T1" fmla="*/ 0 h 18"/>
                <a:gd name="T2" fmla="*/ 0 w 37"/>
                <a:gd name="T3" fmla="*/ 0 h 18"/>
                <a:gd name="T4" fmla="*/ 0 w 37"/>
                <a:gd name="T5" fmla="*/ 3969 h 18"/>
                <a:gd name="T6" fmla="*/ 6951 w 37"/>
                <a:gd name="T7" fmla="*/ 0 h 18"/>
                <a:gd name="T8" fmla="*/ 3089 w 37"/>
                <a:gd name="T9" fmla="*/ 0 h 18"/>
                <a:gd name="T10" fmla="*/ 0 w 3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8"/>
                <a:gd name="T20" fmla="*/ 37 w 3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7" y="0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4" name="Freeform 185">
              <a:extLst>
                <a:ext uri="{FF2B5EF4-FFF2-40B4-BE49-F238E27FC236}">
                  <a16:creationId xmlns:a16="http://schemas.microsoft.com/office/drawing/2014/main" id="{1EC3C6AB-B722-48FD-82FD-4CB7D2962ADE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05412" y="3171826"/>
              <a:ext cx="12700" cy="11113"/>
            </a:xfrm>
            <a:custGeom>
              <a:avLst/>
              <a:gdLst>
                <a:gd name="T0" fmla="*/ 0 w 18"/>
                <a:gd name="T1" fmla="*/ 2223 h 15"/>
                <a:gd name="T2" fmla="*/ 0 w 18"/>
                <a:gd name="T3" fmla="*/ 2223 h 15"/>
                <a:gd name="T4" fmla="*/ 2822 w 18"/>
                <a:gd name="T5" fmla="*/ 2223 h 15"/>
                <a:gd name="T6" fmla="*/ 0 w 18"/>
                <a:gd name="T7" fmla="*/ 0 h 15"/>
                <a:gd name="T8" fmla="*/ 0 w 18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5" name="Freeform 186">
              <a:extLst>
                <a:ext uri="{FF2B5EF4-FFF2-40B4-BE49-F238E27FC236}">
                  <a16:creationId xmlns:a16="http://schemas.microsoft.com/office/drawing/2014/main" id="{20A5CF84-654F-433F-8046-69E6C5F17D16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727699" y="3309938"/>
              <a:ext cx="881063" cy="433388"/>
            </a:xfrm>
            <a:custGeom>
              <a:avLst/>
              <a:gdLst>
                <a:gd name="T0" fmla="*/ 216889 w 1109"/>
                <a:gd name="T1" fmla="*/ 54869 h 545"/>
                <a:gd name="T2" fmla="*/ 209739 w 1109"/>
                <a:gd name="T3" fmla="*/ 66797 h 545"/>
                <a:gd name="T4" fmla="*/ 196233 w 1109"/>
                <a:gd name="T5" fmla="*/ 66797 h 545"/>
                <a:gd name="T6" fmla="*/ 182727 w 1109"/>
                <a:gd name="T7" fmla="*/ 80316 h 545"/>
                <a:gd name="T8" fmla="*/ 185905 w 1109"/>
                <a:gd name="T9" fmla="*/ 95425 h 545"/>
                <a:gd name="T10" fmla="*/ 175577 w 1109"/>
                <a:gd name="T11" fmla="*/ 95425 h 545"/>
                <a:gd name="T12" fmla="*/ 148565 w 1109"/>
                <a:gd name="T13" fmla="*/ 93039 h 545"/>
                <a:gd name="T14" fmla="*/ 144593 w 1109"/>
                <a:gd name="T15" fmla="*/ 99401 h 545"/>
                <a:gd name="T16" fmla="*/ 131087 w 1109"/>
                <a:gd name="T17" fmla="*/ 99401 h 545"/>
                <a:gd name="T18" fmla="*/ 117581 w 1109"/>
                <a:gd name="T19" fmla="*/ 104967 h 545"/>
                <a:gd name="T20" fmla="*/ 110431 w 1109"/>
                <a:gd name="T21" fmla="*/ 102582 h 545"/>
                <a:gd name="T22" fmla="*/ 107253 w 1109"/>
                <a:gd name="T23" fmla="*/ 95425 h 545"/>
                <a:gd name="T24" fmla="*/ 82624 w 1109"/>
                <a:gd name="T25" fmla="*/ 89858 h 545"/>
                <a:gd name="T26" fmla="*/ 65146 w 1109"/>
                <a:gd name="T27" fmla="*/ 76340 h 545"/>
                <a:gd name="T28" fmla="*/ 51640 w 1109"/>
                <a:gd name="T29" fmla="*/ 104967 h 545"/>
                <a:gd name="T30" fmla="*/ 41312 w 1109"/>
                <a:gd name="T31" fmla="*/ 99401 h 545"/>
                <a:gd name="T32" fmla="*/ 30984 w 1109"/>
                <a:gd name="T33" fmla="*/ 95425 h 545"/>
                <a:gd name="T34" fmla="*/ 24628 w 1109"/>
                <a:gd name="T35" fmla="*/ 85882 h 545"/>
                <a:gd name="T36" fmla="*/ 27806 w 1109"/>
                <a:gd name="T37" fmla="*/ 85882 h 545"/>
                <a:gd name="T38" fmla="*/ 27806 w 1109"/>
                <a:gd name="T39" fmla="*/ 80316 h 545"/>
                <a:gd name="T40" fmla="*/ 38134 w 1109"/>
                <a:gd name="T41" fmla="*/ 70773 h 545"/>
                <a:gd name="T42" fmla="*/ 24628 w 1109"/>
                <a:gd name="T43" fmla="*/ 64412 h 545"/>
                <a:gd name="T44" fmla="*/ 10328 w 1109"/>
                <a:gd name="T45" fmla="*/ 70773 h 545"/>
                <a:gd name="T46" fmla="*/ 10328 w 1109"/>
                <a:gd name="T47" fmla="*/ 61231 h 545"/>
                <a:gd name="T48" fmla="*/ 0 w 1109"/>
                <a:gd name="T49" fmla="*/ 54869 h 545"/>
                <a:gd name="T50" fmla="*/ 10328 w 1109"/>
                <a:gd name="T51" fmla="*/ 45327 h 545"/>
                <a:gd name="T52" fmla="*/ 10328 w 1109"/>
                <a:gd name="T53" fmla="*/ 38170 h 545"/>
                <a:gd name="T54" fmla="*/ 27806 w 1109"/>
                <a:gd name="T55" fmla="*/ 32603 h 545"/>
                <a:gd name="T56" fmla="*/ 38134 w 1109"/>
                <a:gd name="T57" fmla="*/ 32603 h 545"/>
                <a:gd name="T58" fmla="*/ 54818 w 1109"/>
                <a:gd name="T59" fmla="*/ 35784 h 545"/>
                <a:gd name="T60" fmla="*/ 65146 w 1109"/>
                <a:gd name="T61" fmla="*/ 38170 h 545"/>
                <a:gd name="T62" fmla="*/ 82624 w 1109"/>
                <a:gd name="T63" fmla="*/ 32603 h 545"/>
                <a:gd name="T64" fmla="*/ 79447 w 1109"/>
                <a:gd name="T65" fmla="*/ 26242 h 545"/>
                <a:gd name="T66" fmla="*/ 79447 w 1109"/>
                <a:gd name="T67" fmla="*/ 19085 h 545"/>
                <a:gd name="T68" fmla="*/ 85802 w 1109"/>
                <a:gd name="T69" fmla="*/ 13519 h 545"/>
                <a:gd name="T70" fmla="*/ 117581 w 1109"/>
                <a:gd name="T71" fmla="*/ 0 h 545"/>
                <a:gd name="T72" fmla="*/ 131087 w 1109"/>
                <a:gd name="T73" fmla="*/ 0 h 545"/>
                <a:gd name="T74" fmla="*/ 134265 w 1109"/>
                <a:gd name="T75" fmla="*/ 9542 h 545"/>
                <a:gd name="T76" fmla="*/ 144593 w 1109"/>
                <a:gd name="T77" fmla="*/ 13519 h 545"/>
                <a:gd name="T78" fmla="*/ 151743 w 1109"/>
                <a:gd name="T79" fmla="*/ 16699 h 545"/>
                <a:gd name="T80" fmla="*/ 165249 w 1109"/>
                <a:gd name="T81" fmla="*/ 7157 h 545"/>
                <a:gd name="T82" fmla="*/ 182727 w 1109"/>
                <a:gd name="T83" fmla="*/ 38170 h 545"/>
                <a:gd name="T84" fmla="*/ 189083 w 1109"/>
                <a:gd name="T85" fmla="*/ 38170 h 545"/>
                <a:gd name="T86" fmla="*/ 209739 w 1109"/>
                <a:gd name="T87" fmla="*/ 45327 h 545"/>
                <a:gd name="T88" fmla="*/ 216889 w 1109"/>
                <a:gd name="T89" fmla="*/ 45327 h 545"/>
                <a:gd name="T90" fmla="*/ 216889 w 1109"/>
                <a:gd name="T91" fmla="*/ 54869 h 5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9"/>
                <a:gd name="T139" fmla="*/ 0 h 545"/>
                <a:gd name="T140" fmla="*/ 1109 w 1109"/>
                <a:gd name="T141" fmla="*/ 545 h 5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9" h="545">
                  <a:moveTo>
                    <a:pt x="1092" y="273"/>
                  </a:moveTo>
                  <a:lnTo>
                    <a:pt x="1092" y="273"/>
                  </a:lnTo>
                  <a:lnTo>
                    <a:pt x="1075" y="288"/>
                  </a:lnTo>
                  <a:lnTo>
                    <a:pt x="1056" y="336"/>
                  </a:lnTo>
                  <a:lnTo>
                    <a:pt x="1038" y="336"/>
                  </a:lnTo>
                  <a:lnTo>
                    <a:pt x="987" y="336"/>
                  </a:lnTo>
                  <a:lnTo>
                    <a:pt x="969" y="401"/>
                  </a:lnTo>
                  <a:lnTo>
                    <a:pt x="917" y="401"/>
                  </a:lnTo>
                  <a:lnTo>
                    <a:pt x="917" y="417"/>
                  </a:lnTo>
                  <a:lnTo>
                    <a:pt x="935" y="480"/>
                  </a:lnTo>
                  <a:lnTo>
                    <a:pt x="917" y="497"/>
                  </a:lnTo>
                  <a:lnTo>
                    <a:pt x="883" y="480"/>
                  </a:lnTo>
                  <a:lnTo>
                    <a:pt x="779" y="480"/>
                  </a:lnTo>
                  <a:lnTo>
                    <a:pt x="745" y="465"/>
                  </a:lnTo>
                  <a:lnTo>
                    <a:pt x="727" y="480"/>
                  </a:lnTo>
                  <a:lnTo>
                    <a:pt x="727" y="497"/>
                  </a:lnTo>
                  <a:lnTo>
                    <a:pt x="676" y="480"/>
                  </a:lnTo>
                  <a:lnTo>
                    <a:pt x="658" y="497"/>
                  </a:lnTo>
                  <a:lnTo>
                    <a:pt x="606" y="545"/>
                  </a:lnTo>
                  <a:lnTo>
                    <a:pt x="589" y="528"/>
                  </a:lnTo>
                  <a:lnTo>
                    <a:pt x="555" y="528"/>
                  </a:lnTo>
                  <a:lnTo>
                    <a:pt x="555" y="513"/>
                  </a:lnTo>
                  <a:lnTo>
                    <a:pt x="537" y="513"/>
                  </a:lnTo>
                  <a:lnTo>
                    <a:pt x="537" y="480"/>
                  </a:lnTo>
                  <a:lnTo>
                    <a:pt x="501" y="449"/>
                  </a:lnTo>
                  <a:lnTo>
                    <a:pt x="414" y="449"/>
                  </a:lnTo>
                  <a:lnTo>
                    <a:pt x="363" y="401"/>
                  </a:lnTo>
                  <a:lnTo>
                    <a:pt x="328" y="384"/>
                  </a:lnTo>
                  <a:lnTo>
                    <a:pt x="259" y="401"/>
                  </a:lnTo>
                  <a:lnTo>
                    <a:pt x="259" y="528"/>
                  </a:lnTo>
                  <a:lnTo>
                    <a:pt x="242" y="528"/>
                  </a:lnTo>
                  <a:lnTo>
                    <a:pt x="207" y="497"/>
                  </a:lnTo>
                  <a:lnTo>
                    <a:pt x="155" y="513"/>
                  </a:lnTo>
                  <a:lnTo>
                    <a:pt x="155" y="480"/>
                  </a:lnTo>
                  <a:lnTo>
                    <a:pt x="138" y="480"/>
                  </a:lnTo>
                  <a:lnTo>
                    <a:pt x="121" y="432"/>
                  </a:lnTo>
                  <a:lnTo>
                    <a:pt x="103" y="432"/>
                  </a:lnTo>
                  <a:lnTo>
                    <a:pt x="138" y="432"/>
                  </a:lnTo>
                  <a:lnTo>
                    <a:pt x="121" y="417"/>
                  </a:lnTo>
                  <a:lnTo>
                    <a:pt x="138" y="401"/>
                  </a:lnTo>
                  <a:lnTo>
                    <a:pt x="207" y="401"/>
                  </a:lnTo>
                  <a:lnTo>
                    <a:pt x="190" y="353"/>
                  </a:lnTo>
                  <a:lnTo>
                    <a:pt x="155" y="336"/>
                  </a:lnTo>
                  <a:lnTo>
                    <a:pt x="121" y="321"/>
                  </a:lnTo>
                  <a:lnTo>
                    <a:pt x="69" y="353"/>
                  </a:lnTo>
                  <a:lnTo>
                    <a:pt x="52" y="353"/>
                  </a:lnTo>
                  <a:lnTo>
                    <a:pt x="69" y="336"/>
                  </a:lnTo>
                  <a:lnTo>
                    <a:pt x="52" y="305"/>
                  </a:lnTo>
                  <a:lnTo>
                    <a:pt x="17" y="305"/>
                  </a:lnTo>
                  <a:lnTo>
                    <a:pt x="0" y="273"/>
                  </a:lnTo>
                  <a:lnTo>
                    <a:pt x="17" y="192"/>
                  </a:lnTo>
                  <a:lnTo>
                    <a:pt x="52" y="225"/>
                  </a:lnTo>
                  <a:lnTo>
                    <a:pt x="69" y="225"/>
                  </a:lnTo>
                  <a:lnTo>
                    <a:pt x="52" y="192"/>
                  </a:lnTo>
                  <a:lnTo>
                    <a:pt x="103" y="144"/>
                  </a:lnTo>
                  <a:lnTo>
                    <a:pt x="138" y="161"/>
                  </a:lnTo>
                  <a:lnTo>
                    <a:pt x="155" y="144"/>
                  </a:lnTo>
                  <a:lnTo>
                    <a:pt x="190" y="161"/>
                  </a:lnTo>
                  <a:lnTo>
                    <a:pt x="242" y="192"/>
                  </a:lnTo>
                  <a:lnTo>
                    <a:pt x="276" y="177"/>
                  </a:lnTo>
                  <a:lnTo>
                    <a:pt x="311" y="177"/>
                  </a:lnTo>
                  <a:lnTo>
                    <a:pt x="328" y="192"/>
                  </a:lnTo>
                  <a:lnTo>
                    <a:pt x="397" y="192"/>
                  </a:lnTo>
                  <a:lnTo>
                    <a:pt x="414" y="161"/>
                  </a:lnTo>
                  <a:lnTo>
                    <a:pt x="363" y="144"/>
                  </a:lnTo>
                  <a:lnTo>
                    <a:pt x="397" y="129"/>
                  </a:lnTo>
                  <a:lnTo>
                    <a:pt x="380" y="113"/>
                  </a:lnTo>
                  <a:lnTo>
                    <a:pt x="397" y="96"/>
                  </a:lnTo>
                  <a:lnTo>
                    <a:pt x="397" y="48"/>
                  </a:lnTo>
                  <a:lnTo>
                    <a:pt x="432" y="65"/>
                  </a:lnTo>
                  <a:lnTo>
                    <a:pt x="589" y="18"/>
                  </a:lnTo>
                  <a:lnTo>
                    <a:pt x="589" y="0"/>
                  </a:lnTo>
                  <a:lnTo>
                    <a:pt x="606" y="0"/>
                  </a:lnTo>
                  <a:lnTo>
                    <a:pt x="658" y="0"/>
                  </a:lnTo>
                  <a:lnTo>
                    <a:pt x="676" y="33"/>
                  </a:lnTo>
                  <a:lnTo>
                    <a:pt x="676" y="48"/>
                  </a:lnTo>
                  <a:lnTo>
                    <a:pt x="693" y="48"/>
                  </a:lnTo>
                  <a:lnTo>
                    <a:pt x="727" y="65"/>
                  </a:lnTo>
                  <a:lnTo>
                    <a:pt x="727" y="81"/>
                  </a:lnTo>
                  <a:lnTo>
                    <a:pt x="762" y="81"/>
                  </a:lnTo>
                  <a:lnTo>
                    <a:pt x="796" y="48"/>
                  </a:lnTo>
                  <a:lnTo>
                    <a:pt x="831" y="33"/>
                  </a:lnTo>
                  <a:lnTo>
                    <a:pt x="848" y="81"/>
                  </a:lnTo>
                  <a:lnTo>
                    <a:pt x="917" y="192"/>
                  </a:lnTo>
                  <a:lnTo>
                    <a:pt x="935" y="161"/>
                  </a:lnTo>
                  <a:lnTo>
                    <a:pt x="952" y="192"/>
                  </a:lnTo>
                  <a:lnTo>
                    <a:pt x="1004" y="177"/>
                  </a:lnTo>
                  <a:lnTo>
                    <a:pt x="1056" y="225"/>
                  </a:lnTo>
                  <a:lnTo>
                    <a:pt x="1092" y="240"/>
                  </a:lnTo>
                  <a:lnTo>
                    <a:pt x="1092" y="225"/>
                  </a:lnTo>
                  <a:lnTo>
                    <a:pt x="1109" y="257"/>
                  </a:lnTo>
                  <a:lnTo>
                    <a:pt x="1092" y="273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6" name="Freeform 187">
              <a:extLst>
                <a:ext uri="{FF2B5EF4-FFF2-40B4-BE49-F238E27FC236}">
                  <a16:creationId xmlns:a16="http://schemas.microsoft.com/office/drawing/2014/main" id="{B73EE6C3-E867-4153-B858-68208B3B2448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851524" y="3690938"/>
              <a:ext cx="315913" cy="190500"/>
            </a:xfrm>
            <a:custGeom>
              <a:avLst/>
              <a:gdLst>
                <a:gd name="T0" fmla="*/ 75029 w 400"/>
                <a:gd name="T1" fmla="*/ 38100 h 240"/>
                <a:gd name="T2" fmla="*/ 75029 w 400"/>
                <a:gd name="T3" fmla="*/ 38100 h 240"/>
                <a:gd name="T4" fmla="*/ 71870 w 400"/>
                <a:gd name="T5" fmla="*/ 34925 h 240"/>
                <a:gd name="T6" fmla="*/ 71870 w 400"/>
                <a:gd name="T7" fmla="*/ 38100 h 240"/>
                <a:gd name="T8" fmla="*/ 67921 w 400"/>
                <a:gd name="T9" fmla="*/ 38100 h 240"/>
                <a:gd name="T10" fmla="*/ 64762 w 400"/>
                <a:gd name="T11" fmla="*/ 44450 h 240"/>
                <a:gd name="T12" fmla="*/ 57654 w 400"/>
                <a:gd name="T13" fmla="*/ 44450 h 240"/>
                <a:gd name="T14" fmla="*/ 57654 w 400"/>
                <a:gd name="T15" fmla="*/ 47625 h 240"/>
                <a:gd name="T16" fmla="*/ 47387 w 400"/>
                <a:gd name="T17" fmla="*/ 47625 h 240"/>
                <a:gd name="T18" fmla="*/ 47387 w 400"/>
                <a:gd name="T19" fmla="*/ 44450 h 240"/>
                <a:gd name="T20" fmla="*/ 47387 w 400"/>
                <a:gd name="T21" fmla="*/ 42069 h 240"/>
                <a:gd name="T22" fmla="*/ 26853 w 400"/>
                <a:gd name="T23" fmla="*/ 32544 h 240"/>
                <a:gd name="T24" fmla="*/ 16585 w 400"/>
                <a:gd name="T25" fmla="*/ 32544 h 240"/>
                <a:gd name="T26" fmla="*/ 10267 w 400"/>
                <a:gd name="T27" fmla="*/ 34925 h 240"/>
                <a:gd name="T28" fmla="*/ 10267 w 400"/>
                <a:gd name="T29" fmla="*/ 26194 h 240"/>
                <a:gd name="T30" fmla="*/ 6318 w 400"/>
                <a:gd name="T31" fmla="*/ 26194 h 240"/>
                <a:gd name="T32" fmla="*/ 6318 w 400"/>
                <a:gd name="T33" fmla="*/ 19050 h 240"/>
                <a:gd name="T34" fmla="*/ 3159 w 400"/>
                <a:gd name="T35" fmla="*/ 19050 h 240"/>
                <a:gd name="T36" fmla="*/ 3159 w 400"/>
                <a:gd name="T37" fmla="*/ 16669 h 240"/>
                <a:gd name="T38" fmla="*/ 10267 w 400"/>
                <a:gd name="T39" fmla="*/ 16669 h 240"/>
                <a:gd name="T40" fmla="*/ 13426 w 400"/>
                <a:gd name="T41" fmla="*/ 13494 h 240"/>
                <a:gd name="T42" fmla="*/ 6318 w 400"/>
                <a:gd name="T43" fmla="*/ 7144 h 240"/>
                <a:gd name="T44" fmla="*/ 3159 w 400"/>
                <a:gd name="T45" fmla="*/ 7144 h 240"/>
                <a:gd name="T46" fmla="*/ 3159 w 400"/>
                <a:gd name="T47" fmla="*/ 13494 h 240"/>
                <a:gd name="T48" fmla="*/ 0 w 400"/>
                <a:gd name="T49" fmla="*/ 7144 h 240"/>
                <a:gd name="T50" fmla="*/ 10267 w 400"/>
                <a:gd name="T51" fmla="*/ 3969 h 240"/>
                <a:gd name="T52" fmla="*/ 16585 w 400"/>
                <a:gd name="T53" fmla="*/ 9525 h 240"/>
                <a:gd name="T54" fmla="*/ 20534 w 400"/>
                <a:gd name="T55" fmla="*/ 9525 h 240"/>
                <a:gd name="T56" fmla="*/ 23693 w 400"/>
                <a:gd name="T57" fmla="*/ 9525 h 240"/>
                <a:gd name="T58" fmla="*/ 23693 w 400"/>
                <a:gd name="T59" fmla="*/ 7144 h 240"/>
                <a:gd name="T60" fmla="*/ 30802 w 400"/>
                <a:gd name="T61" fmla="*/ 3969 h 240"/>
                <a:gd name="T62" fmla="*/ 33961 w 400"/>
                <a:gd name="T63" fmla="*/ 3969 h 240"/>
                <a:gd name="T64" fmla="*/ 30802 w 400"/>
                <a:gd name="T65" fmla="*/ 0 h 240"/>
                <a:gd name="T66" fmla="*/ 33961 w 400"/>
                <a:gd name="T67" fmla="*/ 0 h 240"/>
                <a:gd name="T68" fmla="*/ 40279 w 400"/>
                <a:gd name="T69" fmla="*/ 3969 h 240"/>
                <a:gd name="T70" fmla="*/ 40279 w 400"/>
                <a:gd name="T71" fmla="*/ 9525 h 240"/>
                <a:gd name="T72" fmla="*/ 50546 w 400"/>
                <a:gd name="T73" fmla="*/ 9525 h 240"/>
                <a:gd name="T74" fmla="*/ 54495 w 400"/>
                <a:gd name="T75" fmla="*/ 19050 h 240"/>
                <a:gd name="T76" fmla="*/ 71870 w 400"/>
                <a:gd name="T77" fmla="*/ 28575 h 240"/>
                <a:gd name="T78" fmla="*/ 78188 w 400"/>
                <a:gd name="T79" fmla="*/ 32544 h 240"/>
                <a:gd name="T80" fmla="*/ 75029 w 400"/>
                <a:gd name="T81" fmla="*/ 38100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00"/>
                <a:gd name="T124" fmla="*/ 0 h 240"/>
                <a:gd name="T125" fmla="*/ 400 w 400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00" h="240">
                  <a:moveTo>
                    <a:pt x="382" y="192"/>
                  </a:moveTo>
                  <a:lnTo>
                    <a:pt x="382" y="192"/>
                  </a:lnTo>
                  <a:lnTo>
                    <a:pt x="365" y="176"/>
                  </a:lnTo>
                  <a:lnTo>
                    <a:pt x="365" y="192"/>
                  </a:lnTo>
                  <a:lnTo>
                    <a:pt x="348" y="192"/>
                  </a:lnTo>
                  <a:lnTo>
                    <a:pt x="330" y="224"/>
                  </a:lnTo>
                  <a:lnTo>
                    <a:pt x="296" y="224"/>
                  </a:lnTo>
                  <a:lnTo>
                    <a:pt x="296" y="240"/>
                  </a:lnTo>
                  <a:lnTo>
                    <a:pt x="242" y="240"/>
                  </a:lnTo>
                  <a:lnTo>
                    <a:pt x="242" y="224"/>
                  </a:lnTo>
                  <a:lnTo>
                    <a:pt x="242" y="209"/>
                  </a:lnTo>
                  <a:lnTo>
                    <a:pt x="139" y="161"/>
                  </a:lnTo>
                  <a:lnTo>
                    <a:pt x="87" y="161"/>
                  </a:lnTo>
                  <a:lnTo>
                    <a:pt x="52" y="176"/>
                  </a:lnTo>
                  <a:lnTo>
                    <a:pt x="52" y="129"/>
                  </a:lnTo>
                  <a:lnTo>
                    <a:pt x="35" y="129"/>
                  </a:lnTo>
                  <a:lnTo>
                    <a:pt x="35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52" y="81"/>
                  </a:lnTo>
                  <a:lnTo>
                    <a:pt x="69" y="65"/>
                  </a:lnTo>
                  <a:lnTo>
                    <a:pt x="35" y="33"/>
                  </a:lnTo>
                  <a:lnTo>
                    <a:pt x="18" y="33"/>
                  </a:lnTo>
                  <a:lnTo>
                    <a:pt x="18" y="65"/>
                  </a:lnTo>
                  <a:lnTo>
                    <a:pt x="0" y="33"/>
                  </a:lnTo>
                  <a:lnTo>
                    <a:pt x="52" y="17"/>
                  </a:lnTo>
                  <a:lnTo>
                    <a:pt x="87" y="48"/>
                  </a:lnTo>
                  <a:lnTo>
                    <a:pt x="104" y="48"/>
                  </a:lnTo>
                  <a:lnTo>
                    <a:pt x="121" y="48"/>
                  </a:lnTo>
                  <a:lnTo>
                    <a:pt x="121" y="33"/>
                  </a:lnTo>
                  <a:lnTo>
                    <a:pt x="156" y="17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73" y="0"/>
                  </a:lnTo>
                  <a:lnTo>
                    <a:pt x="208" y="17"/>
                  </a:lnTo>
                  <a:lnTo>
                    <a:pt x="208" y="48"/>
                  </a:lnTo>
                  <a:lnTo>
                    <a:pt x="259" y="48"/>
                  </a:lnTo>
                  <a:lnTo>
                    <a:pt x="279" y="96"/>
                  </a:lnTo>
                  <a:lnTo>
                    <a:pt x="365" y="144"/>
                  </a:lnTo>
                  <a:lnTo>
                    <a:pt x="400" y="161"/>
                  </a:lnTo>
                  <a:lnTo>
                    <a:pt x="382" y="19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7" name="Freeform 188">
              <a:extLst>
                <a:ext uri="{FF2B5EF4-FFF2-40B4-BE49-F238E27FC236}">
                  <a16:creationId xmlns:a16="http://schemas.microsoft.com/office/drawing/2014/main" id="{F6434311-92D7-471A-B8E6-F59191579976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932487" y="3614738"/>
              <a:ext cx="373063" cy="228600"/>
            </a:xfrm>
            <a:custGeom>
              <a:avLst/>
              <a:gdLst>
                <a:gd name="T0" fmla="*/ 55800 w 468"/>
                <a:gd name="T1" fmla="*/ 57150 h 288"/>
                <a:gd name="T2" fmla="*/ 55800 w 468"/>
                <a:gd name="T3" fmla="*/ 57150 h 288"/>
                <a:gd name="T4" fmla="*/ 62177 w 468"/>
                <a:gd name="T5" fmla="*/ 57150 h 288"/>
                <a:gd name="T6" fmla="*/ 66163 w 468"/>
                <a:gd name="T7" fmla="*/ 51594 h 288"/>
                <a:gd name="T8" fmla="*/ 66163 w 468"/>
                <a:gd name="T9" fmla="*/ 44450 h 288"/>
                <a:gd name="T10" fmla="*/ 62177 w 468"/>
                <a:gd name="T11" fmla="*/ 41275 h 288"/>
                <a:gd name="T12" fmla="*/ 69351 w 468"/>
                <a:gd name="T13" fmla="*/ 41275 h 288"/>
                <a:gd name="T14" fmla="*/ 72540 w 468"/>
                <a:gd name="T15" fmla="*/ 34925 h 288"/>
                <a:gd name="T16" fmla="*/ 72540 w 468"/>
                <a:gd name="T17" fmla="*/ 31750 h 288"/>
                <a:gd name="T18" fmla="*/ 79714 w 468"/>
                <a:gd name="T19" fmla="*/ 31750 h 288"/>
                <a:gd name="T20" fmla="*/ 79714 w 468"/>
                <a:gd name="T21" fmla="*/ 34925 h 288"/>
                <a:gd name="T22" fmla="*/ 86889 w 468"/>
                <a:gd name="T23" fmla="*/ 34925 h 288"/>
                <a:gd name="T24" fmla="*/ 94063 w 468"/>
                <a:gd name="T25" fmla="*/ 31750 h 288"/>
                <a:gd name="T26" fmla="*/ 86889 w 468"/>
                <a:gd name="T27" fmla="*/ 28575 h 288"/>
                <a:gd name="T28" fmla="*/ 83700 w 468"/>
                <a:gd name="T29" fmla="*/ 28575 h 288"/>
                <a:gd name="T30" fmla="*/ 76526 w 468"/>
                <a:gd name="T31" fmla="*/ 28575 h 288"/>
                <a:gd name="T32" fmla="*/ 83700 w 468"/>
                <a:gd name="T33" fmla="*/ 22225 h 288"/>
                <a:gd name="T34" fmla="*/ 79714 w 468"/>
                <a:gd name="T35" fmla="*/ 22225 h 288"/>
                <a:gd name="T36" fmla="*/ 69351 w 468"/>
                <a:gd name="T37" fmla="*/ 31750 h 288"/>
                <a:gd name="T38" fmla="*/ 66163 w 468"/>
                <a:gd name="T39" fmla="*/ 28575 h 288"/>
                <a:gd name="T40" fmla="*/ 58989 w 468"/>
                <a:gd name="T41" fmla="*/ 28575 h 288"/>
                <a:gd name="T42" fmla="*/ 58989 w 468"/>
                <a:gd name="T43" fmla="*/ 26194 h 288"/>
                <a:gd name="T44" fmla="*/ 55800 w 468"/>
                <a:gd name="T45" fmla="*/ 26194 h 288"/>
                <a:gd name="T46" fmla="*/ 55800 w 468"/>
                <a:gd name="T47" fmla="*/ 19050 h 288"/>
                <a:gd name="T48" fmla="*/ 48626 w 468"/>
                <a:gd name="T49" fmla="*/ 13494 h 288"/>
                <a:gd name="T50" fmla="*/ 31089 w 468"/>
                <a:gd name="T51" fmla="*/ 13494 h 288"/>
                <a:gd name="T52" fmla="*/ 20726 w 468"/>
                <a:gd name="T53" fmla="*/ 3969 h 288"/>
                <a:gd name="T54" fmla="*/ 14349 w 468"/>
                <a:gd name="T55" fmla="*/ 0 h 288"/>
                <a:gd name="T56" fmla="*/ 0 w 468"/>
                <a:gd name="T57" fmla="*/ 3969 h 288"/>
                <a:gd name="T58" fmla="*/ 0 w 468"/>
                <a:gd name="T59" fmla="*/ 28575 h 288"/>
                <a:gd name="T60" fmla="*/ 3986 w 468"/>
                <a:gd name="T61" fmla="*/ 28575 h 288"/>
                <a:gd name="T62" fmla="*/ 3986 w 468"/>
                <a:gd name="T63" fmla="*/ 26194 h 288"/>
                <a:gd name="T64" fmla="*/ 10363 w 468"/>
                <a:gd name="T65" fmla="*/ 22225 h 288"/>
                <a:gd name="T66" fmla="*/ 14349 w 468"/>
                <a:gd name="T67" fmla="*/ 22225 h 288"/>
                <a:gd name="T68" fmla="*/ 10363 w 468"/>
                <a:gd name="T69" fmla="*/ 19050 h 288"/>
                <a:gd name="T70" fmla="*/ 14349 w 468"/>
                <a:gd name="T71" fmla="*/ 19050 h 288"/>
                <a:gd name="T72" fmla="*/ 20726 w 468"/>
                <a:gd name="T73" fmla="*/ 22225 h 288"/>
                <a:gd name="T74" fmla="*/ 20726 w 468"/>
                <a:gd name="T75" fmla="*/ 28575 h 288"/>
                <a:gd name="T76" fmla="*/ 31089 w 468"/>
                <a:gd name="T77" fmla="*/ 28575 h 288"/>
                <a:gd name="T78" fmla="*/ 35074 w 468"/>
                <a:gd name="T79" fmla="*/ 38100 h 288"/>
                <a:gd name="T80" fmla="*/ 51814 w 468"/>
                <a:gd name="T81" fmla="*/ 47625 h 288"/>
                <a:gd name="T82" fmla="*/ 58989 w 468"/>
                <a:gd name="T83" fmla="*/ 51594 h 288"/>
                <a:gd name="T84" fmla="*/ 55800 w 468"/>
                <a:gd name="T85" fmla="*/ 57150 h 2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8"/>
                <a:gd name="T130" fmla="*/ 0 h 288"/>
                <a:gd name="T131" fmla="*/ 468 w 468"/>
                <a:gd name="T132" fmla="*/ 288 h 2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8" h="288">
                  <a:moveTo>
                    <a:pt x="276" y="288"/>
                  </a:moveTo>
                  <a:lnTo>
                    <a:pt x="276" y="288"/>
                  </a:lnTo>
                  <a:lnTo>
                    <a:pt x="311" y="288"/>
                  </a:lnTo>
                  <a:lnTo>
                    <a:pt x="328" y="257"/>
                  </a:lnTo>
                  <a:lnTo>
                    <a:pt x="328" y="225"/>
                  </a:lnTo>
                  <a:lnTo>
                    <a:pt x="311" y="209"/>
                  </a:lnTo>
                  <a:lnTo>
                    <a:pt x="346" y="209"/>
                  </a:lnTo>
                  <a:lnTo>
                    <a:pt x="363" y="177"/>
                  </a:lnTo>
                  <a:lnTo>
                    <a:pt x="363" y="161"/>
                  </a:lnTo>
                  <a:lnTo>
                    <a:pt x="399" y="161"/>
                  </a:lnTo>
                  <a:lnTo>
                    <a:pt x="399" y="177"/>
                  </a:lnTo>
                  <a:lnTo>
                    <a:pt x="434" y="177"/>
                  </a:lnTo>
                  <a:lnTo>
                    <a:pt x="468" y="161"/>
                  </a:lnTo>
                  <a:lnTo>
                    <a:pt x="434" y="144"/>
                  </a:lnTo>
                  <a:lnTo>
                    <a:pt x="417" y="144"/>
                  </a:lnTo>
                  <a:lnTo>
                    <a:pt x="380" y="144"/>
                  </a:lnTo>
                  <a:lnTo>
                    <a:pt x="417" y="113"/>
                  </a:lnTo>
                  <a:lnTo>
                    <a:pt x="399" y="113"/>
                  </a:lnTo>
                  <a:lnTo>
                    <a:pt x="346" y="161"/>
                  </a:lnTo>
                  <a:lnTo>
                    <a:pt x="328" y="144"/>
                  </a:lnTo>
                  <a:lnTo>
                    <a:pt x="294" y="144"/>
                  </a:lnTo>
                  <a:lnTo>
                    <a:pt x="294" y="129"/>
                  </a:lnTo>
                  <a:lnTo>
                    <a:pt x="276" y="129"/>
                  </a:lnTo>
                  <a:lnTo>
                    <a:pt x="276" y="96"/>
                  </a:lnTo>
                  <a:lnTo>
                    <a:pt x="242" y="65"/>
                  </a:lnTo>
                  <a:lnTo>
                    <a:pt x="155" y="65"/>
                  </a:lnTo>
                  <a:lnTo>
                    <a:pt x="104" y="17"/>
                  </a:lnTo>
                  <a:lnTo>
                    <a:pt x="69" y="0"/>
                  </a:lnTo>
                  <a:lnTo>
                    <a:pt x="0" y="17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17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96"/>
                  </a:lnTo>
                  <a:lnTo>
                    <a:pt x="69" y="96"/>
                  </a:lnTo>
                  <a:lnTo>
                    <a:pt x="104" y="113"/>
                  </a:lnTo>
                  <a:lnTo>
                    <a:pt x="104" y="144"/>
                  </a:lnTo>
                  <a:lnTo>
                    <a:pt x="155" y="144"/>
                  </a:lnTo>
                  <a:lnTo>
                    <a:pt x="173" y="192"/>
                  </a:lnTo>
                  <a:lnTo>
                    <a:pt x="259" y="240"/>
                  </a:lnTo>
                  <a:lnTo>
                    <a:pt x="294" y="257"/>
                  </a:lnTo>
                  <a:lnTo>
                    <a:pt x="276" y="28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8" name="Freeform 189">
              <a:extLst>
                <a:ext uri="{FF2B5EF4-FFF2-40B4-BE49-F238E27FC236}">
                  <a16:creationId xmlns:a16="http://schemas.microsoft.com/office/drawing/2014/main" id="{EEB82D20-95F1-481A-B6A8-F98EA1BB5F21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180137" y="3743326"/>
              <a:ext cx="166688" cy="114300"/>
            </a:xfrm>
            <a:custGeom>
              <a:avLst/>
              <a:gdLst>
                <a:gd name="T0" fmla="*/ 35092 w 209"/>
                <a:gd name="T1" fmla="*/ 9525 h 144"/>
                <a:gd name="T2" fmla="*/ 35092 w 209"/>
                <a:gd name="T3" fmla="*/ 9525 h 144"/>
                <a:gd name="T4" fmla="*/ 35092 w 209"/>
                <a:gd name="T5" fmla="*/ 15081 h 144"/>
                <a:gd name="T6" fmla="*/ 42270 w 209"/>
                <a:gd name="T7" fmla="*/ 15081 h 144"/>
                <a:gd name="T8" fmla="*/ 42270 w 209"/>
                <a:gd name="T9" fmla="*/ 24606 h 144"/>
                <a:gd name="T10" fmla="*/ 31902 w 209"/>
                <a:gd name="T11" fmla="*/ 21431 h 144"/>
                <a:gd name="T12" fmla="*/ 24724 w 209"/>
                <a:gd name="T13" fmla="*/ 28575 h 144"/>
                <a:gd name="T14" fmla="*/ 21534 w 209"/>
                <a:gd name="T15" fmla="*/ 19050 h 144"/>
                <a:gd name="T16" fmla="*/ 17546 w 209"/>
                <a:gd name="T17" fmla="*/ 15081 h 144"/>
                <a:gd name="T18" fmla="*/ 14356 w 209"/>
                <a:gd name="T19" fmla="*/ 21431 h 144"/>
                <a:gd name="T20" fmla="*/ 11166 w 209"/>
                <a:gd name="T21" fmla="*/ 21431 h 144"/>
                <a:gd name="T22" fmla="*/ 11166 w 209"/>
                <a:gd name="T23" fmla="*/ 24606 h 144"/>
                <a:gd name="T24" fmla="*/ 3988 w 209"/>
                <a:gd name="T25" fmla="*/ 24606 h 144"/>
                <a:gd name="T26" fmla="*/ 0 w 209"/>
                <a:gd name="T27" fmla="*/ 24606 h 144"/>
                <a:gd name="T28" fmla="*/ 3988 w 209"/>
                <a:gd name="T29" fmla="*/ 19050 h 144"/>
                <a:gd name="T30" fmla="*/ 3988 w 209"/>
                <a:gd name="T31" fmla="*/ 12700 h 144"/>
                <a:gd name="T32" fmla="*/ 0 w 209"/>
                <a:gd name="T33" fmla="*/ 9525 h 144"/>
                <a:gd name="T34" fmla="*/ 7178 w 209"/>
                <a:gd name="T35" fmla="*/ 9525 h 144"/>
                <a:gd name="T36" fmla="*/ 11166 w 209"/>
                <a:gd name="T37" fmla="*/ 3175 h 144"/>
                <a:gd name="T38" fmla="*/ 11166 w 209"/>
                <a:gd name="T39" fmla="*/ 0 h 144"/>
                <a:gd name="T40" fmla="*/ 17546 w 209"/>
                <a:gd name="T41" fmla="*/ 0 h 144"/>
                <a:gd name="T42" fmla="*/ 17546 w 209"/>
                <a:gd name="T43" fmla="*/ 3175 h 144"/>
                <a:gd name="T44" fmla="*/ 17546 w 209"/>
                <a:gd name="T45" fmla="*/ 5556 h 144"/>
                <a:gd name="T46" fmla="*/ 11166 w 209"/>
                <a:gd name="T47" fmla="*/ 5556 h 144"/>
                <a:gd name="T48" fmla="*/ 11166 w 209"/>
                <a:gd name="T49" fmla="*/ 9525 h 144"/>
                <a:gd name="T50" fmla="*/ 21534 w 209"/>
                <a:gd name="T51" fmla="*/ 9525 h 144"/>
                <a:gd name="T52" fmla="*/ 24724 w 209"/>
                <a:gd name="T53" fmla="*/ 9525 h 144"/>
                <a:gd name="T54" fmla="*/ 35092 w 209"/>
                <a:gd name="T55" fmla="*/ 9525 h 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9"/>
                <a:gd name="T85" fmla="*/ 0 h 144"/>
                <a:gd name="T86" fmla="*/ 209 w 209"/>
                <a:gd name="T87" fmla="*/ 144 h 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9" h="144">
                  <a:moveTo>
                    <a:pt x="175" y="48"/>
                  </a:moveTo>
                  <a:lnTo>
                    <a:pt x="175" y="48"/>
                  </a:lnTo>
                  <a:lnTo>
                    <a:pt x="175" y="79"/>
                  </a:lnTo>
                  <a:lnTo>
                    <a:pt x="209" y="79"/>
                  </a:lnTo>
                  <a:lnTo>
                    <a:pt x="209" y="127"/>
                  </a:lnTo>
                  <a:lnTo>
                    <a:pt x="157" y="111"/>
                  </a:lnTo>
                  <a:lnTo>
                    <a:pt x="123" y="144"/>
                  </a:lnTo>
                  <a:lnTo>
                    <a:pt x="106" y="96"/>
                  </a:lnTo>
                  <a:lnTo>
                    <a:pt x="88" y="79"/>
                  </a:lnTo>
                  <a:lnTo>
                    <a:pt x="71" y="111"/>
                  </a:lnTo>
                  <a:lnTo>
                    <a:pt x="54" y="111"/>
                  </a:lnTo>
                  <a:lnTo>
                    <a:pt x="54" y="127"/>
                  </a:lnTo>
                  <a:lnTo>
                    <a:pt x="17" y="127"/>
                  </a:lnTo>
                  <a:lnTo>
                    <a:pt x="0" y="127"/>
                  </a:lnTo>
                  <a:lnTo>
                    <a:pt x="17" y="96"/>
                  </a:lnTo>
                  <a:lnTo>
                    <a:pt x="17" y="64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4" y="16"/>
                  </a:lnTo>
                  <a:lnTo>
                    <a:pt x="54" y="0"/>
                  </a:lnTo>
                  <a:lnTo>
                    <a:pt x="88" y="0"/>
                  </a:lnTo>
                  <a:lnTo>
                    <a:pt x="88" y="16"/>
                  </a:lnTo>
                  <a:lnTo>
                    <a:pt x="88" y="31"/>
                  </a:lnTo>
                  <a:lnTo>
                    <a:pt x="54" y="31"/>
                  </a:lnTo>
                  <a:lnTo>
                    <a:pt x="54" y="48"/>
                  </a:lnTo>
                  <a:lnTo>
                    <a:pt x="106" y="48"/>
                  </a:lnTo>
                  <a:lnTo>
                    <a:pt x="123" y="48"/>
                  </a:lnTo>
                  <a:lnTo>
                    <a:pt x="175" y="4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29" name="Freeform 190">
              <a:extLst>
                <a:ext uri="{FF2B5EF4-FFF2-40B4-BE49-F238E27FC236}">
                  <a16:creationId xmlns:a16="http://schemas.microsoft.com/office/drawing/2014/main" id="{F3391FF5-4D92-4A31-9CEE-ED8DEA8E8372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222999" y="3678238"/>
              <a:ext cx="234950" cy="103188"/>
            </a:xfrm>
            <a:custGeom>
              <a:avLst/>
              <a:gdLst>
                <a:gd name="T0" fmla="*/ 58937 w 295"/>
                <a:gd name="T1" fmla="*/ 6449 h 128"/>
                <a:gd name="T2" fmla="*/ 58937 w 295"/>
                <a:gd name="T3" fmla="*/ 6449 h 128"/>
                <a:gd name="T4" fmla="*/ 58937 w 295"/>
                <a:gd name="T5" fmla="*/ 9674 h 128"/>
                <a:gd name="T6" fmla="*/ 48583 w 295"/>
                <a:gd name="T7" fmla="*/ 16929 h 128"/>
                <a:gd name="T8" fmla="*/ 41415 w 295"/>
                <a:gd name="T9" fmla="*/ 16929 h 128"/>
                <a:gd name="T10" fmla="*/ 38229 w 295"/>
                <a:gd name="T11" fmla="*/ 20154 h 128"/>
                <a:gd name="T12" fmla="*/ 31061 w 295"/>
                <a:gd name="T13" fmla="*/ 20154 h 128"/>
                <a:gd name="T14" fmla="*/ 24690 w 295"/>
                <a:gd name="T15" fmla="*/ 22572 h 128"/>
                <a:gd name="T16" fmla="*/ 24690 w 295"/>
                <a:gd name="T17" fmla="*/ 26603 h 128"/>
                <a:gd name="T18" fmla="*/ 14336 w 295"/>
                <a:gd name="T19" fmla="*/ 26603 h 128"/>
                <a:gd name="T20" fmla="*/ 10354 w 295"/>
                <a:gd name="T21" fmla="*/ 26603 h 128"/>
                <a:gd name="T22" fmla="*/ 0 w 295"/>
                <a:gd name="T23" fmla="*/ 26603 h 128"/>
                <a:gd name="T24" fmla="*/ 0 w 295"/>
                <a:gd name="T25" fmla="*/ 22572 h 128"/>
                <a:gd name="T26" fmla="*/ 7168 w 295"/>
                <a:gd name="T27" fmla="*/ 22572 h 128"/>
                <a:gd name="T28" fmla="*/ 7168 w 295"/>
                <a:gd name="T29" fmla="*/ 20154 h 128"/>
                <a:gd name="T30" fmla="*/ 14336 w 295"/>
                <a:gd name="T31" fmla="*/ 20154 h 128"/>
                <a:gd name="T32" fmla="*/ 20707 w 295"/>
                <a:gd name="T33" fmla="*/ 16929 h 128"/>
                <a:gd name="T34" fmla="*/ 14336 w 295"/>
                <a:gd name="T35" fmla="*/ 12899 h 128"/>
                <a:gd name="T36" fmla="*/ 10354 w 295"/>
                <a:gd name="T37" fmla="*/ 12899 h 128"/>
                <a:gd name="T38" fmla="*/ 3982 w 295"/>
                <a:gd name="T39" fmla="*/ 12899 h 128"/>
                <a:gd name="T40" fmla="*/ 10354 w 295"/>
                <a:gd name="T41" fmla="*/ 6449 h 128"/>
                <a:gd name="T42" fmla="*/ 7168 w 295"/>
                <a:gd name="T43" fmla="*/ 6449 h 128"/>
                <a:gd name="T44" fmla="*/ 10354 w 295"/>
                <a:gd name="T45" fmla="*/ 3225 h 128"/>
                <a:gd name="T46" fmla="*/ 20707 w 295"/>
                <a:gd name="T47" fmla="*/ 6449 h 128"/>
                <a:gd name="T48" fmla="*/ 20707 w 295"/>
                <a:gd name="T49" fmla="*/ 3225 h 128"/>
                <a:gd name="T50" fmla="*/ 24690 w 295"/>
                <a:gd name="T51" fmla="*/ 0 h 128"/>
                <a:gd name="T52" fmla="*/ 31061 w 295"/>
                <a:gd name="T53" fmla="*/ 3225 h 128"/>
                <a:gd name="T54" fmla="*/ 51769 w 295"/>
                <a:gd name="T55" fmla="*/ 3225 h 128"/>
                <a:gd name="T56" fmla="*/ 58937 w 295"/>
                <a:gd name="T57" fmla="*/ 6449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5"/>
                <a:gd name="T88" fmla="*/ 0 h 128"/>
                <a:gd name="T89" fmla="*/ 295 w 295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5" h="128">
                  <a:moveTo>
                    <a:pt x="295" y="32"/>
                  </a:moveTo>
                  <a:lnTo>
                    <a:pt x="295" y="32"/>
                  </a:lnTo>
                  <a:lnTo>
                    <a:pt x="295" y="48"/>
                  </a:lnTo>
                  <a:lnTo>
                    <a:pt x="242" y="80"/>
                  </a:lnTo>
                  <a:lnTo>
                    <a:pt x="207" y="80"/>
                  </a:lnTo>
                  <a:lnTo>
                    <a:pt x="190" y="96"/>
                  </a:lnTo>
                  <a:lnTo>
                    <a:pt x="155" y="96"/>
                  </a:lnTo>
                  <a:lnTo>
                    <a:pt x="121" y="111"/>
                  </a:lnTo>
                  <a:lnTo>
                    <a:pt x="121" y="128"/>
                  </a:lnTo>
                  <a:lnTo>
                    <a:pt x="69" y="128"/>
                  </a:lnTo>
                  <a:lnTo>
                    <a:pt x="52" y="128"/>
                  </a:lnTo>
                  <a:lnTo>
                    <a:pt x="0" y="128"/>
                  </a:lnTo>
                  <a:lnTo>
                    <a:pt x="0" y="111"/>
                  </a:lnTo>
                  <a:lnTo>
                    <a:pt x="34" y="111"/>
                  </a:lnTo>
                  <a:lnTo>
                    <a:pt x="34" y="96"/>
                  </a:lnTo>
                  <a:lnTo>
                    <a:pt x="69" y="96"/>
                  </a:lnTo>
                  <a:lnTo>
                    <a:pt x="103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17" y="63"/>
                  </a:lnTo>
                  <a:lnTo>
                    <a:pt x="52" y="32"/>
                  </a:lnTo>
                  <a:lnTo>
                    <a:pt x="34" y="32"/>
                  </a:lnTo>
                  <a:lnTo>
                    <a:pt x="52" y="15"/>
                  </a:lnTo>
                  <a:lnTo>
                    <a:pt x="103" y="32"/>
                  </a:lnTo>
                  <a:lnTo>
                    <a:pt x="103" y="15"/>
                  </a:lnTo>
                  <a:lnTo>
                    <a:pt x="121" y="0"/>
                  </a:lnTo>
                  <a:lnTo>
                    <a:pt x="155" y="15"/>
                  </a:lnTo>
                  <a:lnTo>
                    <a:pt x="259" y="15"/>
                  </a:lnTo>
                  <a:lnTo>
                    <a:pt x="295" y="32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0" name="Freeform 191">
              <a:extLst>
                <a:ext uri="{FF2B5EF4-FFF2-40B4-BE49-F238E27FC236}">
                  <a16:creationId xmlns:a16="http://schemas.microsoft.com/office/drawing/2014/main" id="{37051FC5-685E-43E0-B1DE-3DB39B38F280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6045199" y="3843338"/>
              <a:ext cx="313050" cy="317500"/>
            </a:xfrm>
            <a:custGeom>
              <a:avLst/>
              <a:gdLst>
                <a:gd name="T0" fmla="*/ 3168 w 449"/>
                <a:gd name="T1" fmla="*/ 69676 h 401"/>
                <a:gd name="T2" fmla="*/ 3168 w 449"/>
                <a:gd name="T3" fmla="*/ 69676 h 401"/>
                <a:gd name="T4" fmla="*/ 3168 w 449"/>
                <a:gd name="T5" fmla="*/ 63342 h 401"/>
                <a:gd name="T6" fmla="*/ 10296 w 449"/>
                <a:gd name="T7" fmla="*/ 60175 h 401"/>
                <a:gd name="T8" fmla="*/ 6336 w 449"/>
                <a:gd name="T9" fmla="*/ 53840 h 401"/>
                <a:gd name="T10" fmla="*/ 3168 w 449"/>
                <a:gd name="T11" fmla="*/ 50673 h 401"/>
                <a:gd name="T12" fmla="*/ 0 w 449"/>
                <a:gd name="T13" fmla="*/ 44339 h 401"/>
                <a:gd name="T14" fmla="*/ 6336 w 449"/>
                <a:gd name="T15" fmla="*/ 47506 h 401"/>
                <a:gd name="T16" fmla="*/ 26927 w 449"/>
                <a:gd name="T17" fmla="*/ 44339 h 401"/>
                <a:gd name="T18" fmla="*/ 26927 w 449"/>
                <a:gd name="T19" fmla="*/ 38005 h 401"/>
                <a:gd name="T20" fmla="*/ 30887 w 449"/>
                <a:gd name="T21" fmla="*/ 34838 h 401"/>
                <a:gd name="T22" fmla="*/ 44351 w 449"/>
                <a:gd name="T23" fmla="*/ 31671 h 401"/>
                <a:gd name="T24" fmla="*/ 44351 w 449"/>
                <a:gd name="T25" fmla="*/ 25337 h 401"/>
                <a:gd name="T26" fmla="*/ 47519 w 449"/>
                <a:gd name="T27" fmla="*/ 22170 h 401"/>
                <a:gd name="T28" fmla="*/ 47519 w 449"/>
                <a:gd name="T29" fmla="*/ 19002 h 401"/>
                <a:gd name="T30" fmla="*/ 50687 w 449"/>
                <a:gd name="T31" fmla="*/ 19002 h 401"/>
                <a:gd name="T32" fmla="*/ 54647 w 449"/>
                <a:gd name="T33" fmla="*/ 12668 h 401"/>
                <a:gd name="T34" fmla="*/ 54647 w 449"/>
                <a:gd name="T35" fmla="*/ 6334 h 401"/>
                <a:gd name="T36" fmla="*/ 60983 w 449"/>
                <a:gd name="T37" fmla="*/ 3167 h 401"/>
                <a:gd name="T38" fmla="*/ 68110 w 449"/>
                <a:gd name="T39" fmla="*/ 0 h 401"/>
                <a:gd name="T40" fmla="*/ 71278 w 449"/>
                <a:gd name="T41" fmla="*/ 0 h 401"/>
                <a:gd name="T42" fmla="*/ 78406 w 449"/>
                <a:gd name="T43" fmla="*/ 3167 h 401"/>
                <a:gd name="T44" fmla="*/ 81574 w 449"/>
                <a:gd name="T45" fmla="*/ 6334 h 401"/>
                <a:gd name="T46" fmla="*/ 88702 w 449"/>
                <a:gd name="T47" fmla="*/ 9501 h 401"/>
                <a:gd name="T48" fmla="*/ 85534 w 449"/>
                <a:gd name="T49" fmla="*/ 12668 h 401"/>
                <a:gd name="T50" fmla="*/ 78406 w 449"/>
                <a:gd name="T51" fmla="*/ 15835 h 401"/>
                <a:gd name="T52" fmla="*/ 71278 w 449"/>
                <a:gd name="T53" fmla="*/ 12668 h 401"/>
                <a:gd name="T54" fmla="*/ 68110 w 449"/>
                <a:gd name="T55" fmla="*/ 15835 h 401"/>
                <a:gd name="T56" fmla="*/ 71278 w 449"/>
                <a:gd name="T57" fmla="*/ 19002 h 401"/>
                <a:gd name="T58" fmla="*/ 68110 w 449"/>
                <a:gd name="T59" fmla="*/ 25337 h 401"/>
                <a:gd name="T60" fmla="*/ 75238 w 449"/>
                <a:gd name="T61" fmla="*/ 28504 h 401"/>
                <a:gd name="T62" fmla="*/ 75238 w 449"/>
                <a:gd name="T63" fmla="*/ 31671 h 401"/>
                <a:gd name="T64" fmla="*/ 71278 w 449"/>
                <a:gd name="T65" fmla="*/ 31671 h 401"/>
                <a:gd name="T66" fmla="*/ 75238 w 449"/>
                <a:gd name="T67" fmla="*/ 34838 h 401"/>
                <a:gd name="T68" fmla="*/ 57815 w 449"/>
                <a:gd name="T69" fmla="*/ 53840 h 401"/>
                <a:gd name="T70" fmla="*/ 50687 w 449"/>
                <a:gd name="T71" fmla="*/ 57007 h 401"/>
                <a:gd name="T72" fmla="*/ 47519 w 449"/>
                <a:gd name="T73" fmla="*/ 53840 h 401"/>
                <a:gd name="T74" fmla="*/ 44351 w 449"/>
                <a:gd name="T75" fmla="*/ 57007 h 401"/>
                <a:gd name="T76" fmla="*/ 44351 w 449"/>
                <a:gd name="T77" fmla="*/ 63342 h 401"/>
                <a:gd name="T78" fmla="*/ 47519 w 449"/>
                <a:gd name="T79" fmla="*/ 63342 h 401"/>
                <a:gd name="T80" fmla="*/ 47519 w 449"/>
                <a:gd name="T81" fmla="*/ 66509 h 401"/>
                <a:gd name="T82" fmla="*/ 50687 w 449"/>
                <a:gd name="T83" fmla="*/ 66509 h 401"/>
                <a:gd name="T84" fmla="*/ 50687 w 449"/>
                <a:gd name="T85" fmla="*/ 72843 h 401"/>
                <a:gd name="T86" fmla="*/ 50687 w 449"/>
                <a:gd name="T87" fmla="*/ 76010 h 401"/>
                <a:gd name="T88" fmla="*/ 40391 w 449"/>
                <a:gd name="T89" fmla="*/ 76010 h 401"/>
                <a:gd name="T90" fmla="*/ 37223 w 449"/>
                <a:gd name="T91" fmla="*/ 79177 h 401"/>
                <a:gd name="T92" fmla="*/ 34055 w 449"/>
                <a:gd name="T93" fmla="*/ 76010 h 401"/>
                <a:gd name="T94" fmla="*/ 30887 w 449"/>
                <a:gd name="T95" fmla="*/ 69676 h 401"/>
                <a:gd name="T96" fmla="*/ 20592 w 449"/>
                <a:gd name="T97" fmla="*/ 69676 h 401"/>
                <a:gd name="T98" fmla="*/ 13464 w 449"/>
                <a:gd name="T99" fmla="*/ 69676 h 401"/>
                <a:gd name="T100" fmla="*/ 3168 w 449"/>
                <a:gd name="T101" fmla="*/ 69676 h 40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9"/>
                <a:gd name="T154" fmla="*/ 0 h 401"/>
                <a:gd name="T155" fmla="*/ 449 w 449"/>
                <a:gd name="T156" fmla="*/ 401 h 401"/>
                <a:gd name="connsiteX0" fmla="*/ 379 w 9621"/>
                <a:gd name="connsiteY0" fmla="*/ 8803 h 10000"/>
                <a:gd name="connsiteX1" fmla="*/ 379 w 9621"/>
                <a:gd name="connsiteY1" fmla="*/ 8803 h 10000"/>
                <a:gd name="connsiteX2" fmla="*/ 379 w 9621"/>
                <a:gd name="connsiteY2" fmla="*/ 7980 h 10000"/>
                <a:gd name="connsiteX3" fmla="*/ 1158 w 9621"/>
                <a:gd name="connsiteY3" fmla="*/ 7606 h 10000"/>
                <a:gd name="connsiteX4" fmla="*/ 780 w 9621"/>
                <a:gd name="connsiteY4" fmla="*/ 6783 h 10000"/>
                <a:gd name="connsiteX5" fmla="*/ 379 w 9621"/>
                <a:gd name="connsiteY5" fmla="*/ 6409 h 10000"/>
                <a:gd name="connsiteX6" fmla="*/ 0 w 9621"/>
                <a:gd name="connsiteY6" fmla="*/ 5586 h 10000"/>
                <a:gd name="connsiteX7" fmla="*/ 780 w 9621"/>
                <a:gd name="connsiteY7" fmla="*/ 5985 h 10000"/>
                <a:gd name="connsiteX8" fmla="*/ 3073 w 9621"/>
                <a:gd name="connsiteY8" fmla="*/ 5586 h 10000"/>
                <a:gd name="connsiteX9" fmla="*/ 3073 w 9621"/>
                <a:gd name="connsiteY9" fmla="*/ 4788 h 10000"/>
                <a:gd name="connsiteX10" fmla="*/ 3474 w 9621"/>
                <a:gd name="connsiteY10" fmla="*/ 4389 h 10000"/>
                <a:gd name="connsiteX11" fmla="*/ 5011 w 9621"/>
                <a:gd name="connsiteY11" fmla="*/ 4015 h 10000"/>
                <a:gd name="connsiteX12" fmla="*/ 5011 w 9621"/>
                <a:gd name="connsiteY12" fmla="*/ 3192 h 10000"/>
                <a:gd name="connsiteX13" fmla="*/ 5390 w 9621"/>
                <a:gd name="connsiteY13" fmla="*/ 2818 h 10000"/>
                <a:gd name="connsiteX14" fmla="*/ 5390 w 9621"/>
                <a:gd name="connsiteY14" fmla="*/ 2394 h 10000"/>
                <a:gd name="connsiteX15" fmla="*/ 5768 w 9621"/>
                <a:gd name="connsiteY15" fmla="*/ 2394 h 10000"/>
                <a:gd name="connsiteX16" fmla="*/ 6169 w 9621"/>
                <a:gd name="connsiteY16" fmla="*/ 1621 h 10000"/>
                <a:gd name="connsiteX17" fmla="*/ 6169 w 9621"/>
                <a:gd name="connsiteY17" fmla="*/ 798 h 10000"/>
                <a:gd name="connsiteX18" fmla="*/ 6927 w 9621"/>
                <a:gd name="connsiteY18" fmla="*/ 424 h 10000"/>
                <a:gd name="connsiteX19" fmla="*/ 7706 w 9621"/>
                <a:gd name="connsiteY19" fmla="*/ 0 h 10000"/>
                <a:gd name="connsiteX20" fmla="*/ 8085 w 9621"/>
                <a:gd name="connsiteY20" fmla="*/ 0 h 10000"/>
                <a:gd name="connsiteX21" fmla="*/ 8842 w 9621"/>
                <a:gd name="connsiteY21" fmla="*/ 424 h 10000"/>
                <a:gd name="connsiteX22" fmla="*/ 9243 w 9621"/>
                <a:gd name="connsiteY22" fmla="*/ 798 h 10000"/>
                <a:gd name="connsiteX23" fmla="*/ 9621 w 9621"/>
                <a:gd name="connsiteY23" fmla="*/ 1621 h 10000"/>
                <a:gd name="connsiteX24" fmla="*/ 8842 w 9621"/>
                <a:gd name="connsiteY24" fmla="*/ 1995 h 10000"/>
                <a:gd name="connsiteX25" fmla="*/ 8085 w 9621"/>
                <a:gd name="connsiteY25" fmla="*/ 1621 h 10000"/>
                <a:gd name="connsiteX26" fmla="*/ 7706 w 9621"/>
                <a:gd name="connsiteY26" fmla="*/ 1995 h 10000"/>
                <a:gd name="connsiteX27" fmla="*/ 8085 w 9621"/>
                <a:gd name="connsiteY27" fmla="*/ 2394 h 10000"/>
                <a:gd name="connsiteX28" fmla="*/ 7706 w 9621"/>
                <a:gd name="connsiteY28" fmla="*/ 3192 h 10000"/>
                <a:gd name="connsiteX29" fmla="*/ 8463 w 9621"/>
                <a:gd name="connsiteY29" fmla="*/ 3591 h 10000"/>
                <a:gd name="connsiteX30" fmla="*/ 8463 w 9621"/>
                <a:gd name="connsiteY30" fmla="*/ 4015 h 10000"/>
                <a:gd name="connsiteX31" fmla="*/ 8085 w 9621"/>
                <a:gd name="connsiteY31" fmla="*/ 4015 h 10000"/>
                <a:gd name="connsiteX32" fmla="*/ 8463 w 9621"/>
                <a:gd name="connsiteY32" fmla="*/ 4389 h 10000"/>
                <a:gd name="connsiteX33" fmla="*/ 6548 w 9621"/>
                <a:gd name="connsiteY33" fmla="*/ 6783 h 10000"/>
                <a:gd name="connsiteX34" fmla="*/ 5768 w 9621"/>
                <a:gd name="connsiteY34" fmla="*/ 7182 h 10000"/>
                <a:gd name="connsiteX35" fmla="*/ 5390 w 9621"/>
                <a:gd name="connsiteY35" fmla="*/ 6783 h 10000"/>
                <a:gd name="connsiteX36" fmla="*/ 5011 w 9621"/>
                <a:gd name="connsiteY36" fmla="*/ 7182 h 10000"/>
                <a:gd name="connsiteX37" fmla="*/ 5011 w 9621"/>
                <a:gd name="connsiteY37" fmla="*/ 7980 h 10000"/>
                <a:gd name="connsiteX38" fmla="*/ 5390 w 9621"/>
                <a:gd name="connsiteY38" fmla="*/ 7980 h 10000"/>
                <a:gd name="connsiteX39" fmla="*/ 5390 w 9621"/>
                <a:gd name="connsiteY39" fmla="*/ 8379 h 10000"/>
                <a:gd name="connsiteX40" fmla="*/ 5768 w 9621"/>
                <a:gd name="connsiteY40" fmla="*/ 8379 h 10000"/>
                <a:gd name="connsiteX41" fmla="*/ 5768 w 9621"/>
                <a:gd name="connsiteY41" fmla="*/ 9177 h 10000"/>
                <a:gd name="connsiteX42" fmla="*/ 5768 w 9621"/>
                <a:gd name="connsiteY42" fmla="*/ 9576 h 10000"/>
                <a:gd name="connsiteX43" fmla="*/ 4610 w 9621"/>
                <a:gd name="connsiteY43" fmla="*/ 9576 h 10000"/>
                <a:gd name="connsiteX44" fmla="*/ 4232 w 9621"/>
                <a:gd name="connsiteY44" fmla="*/ 10000 h 10000"/>
                <a:gd name="connsiteX45" fmla="*/ 3853 w 9621"/>
                <a:gd name="connsiteY45" fmla="*/ 9576 h 10000"/>
                <a:gd name="connsiteX46" fmla="*/ 3474 w 9621"/>
                <a:gd name="connsiteY46" fmla="*/ 8803 h 10000"/>
                <a:gd name="connsiteX47" fmla="*/ 2316 w 9621"/>
                <a:gd name="connsiteY47" fmla="*/ 8803 h 10000"/>
                <a:gd name="connsiteX48" fmla="*/ 1537 w 9621"/>
                <a:gd name="connsiteY48" fmla="*/ 8803 h 10000"/>
                <a:gd name="connsiteX49" fmla="*/ 379 w 9621"/>
                <a:gd name="connsiteY49" fmla="*/ 8803 h 10000"/>
                <a:gd name="connsiteX0" fmla="*/ 394 w 10000"/>
                <a:gd name="connsiteY0" fmla="*/ 8803 h 10000"/>
                <a:gd name="connsiteX1" fmla="*/ 394 w 10000"/>
                <a:gd name="connsiteY1" fmla="*/ 8803 h 10000"/>
                <a:gd name="connsiteX2" fmla="*/ 394 w 10000"/>
                <a:gd name="connsiteY2" fmla="*/ 7980 h 10000"/>
                <a:gd name="connsiteX3" fmla="*/ 1204 w 10000"/>
                <a:gd name="connsiteY3" fmla="*/ 7606 h 10000"/>
                <a:gd name="connsiteX4" fmla="*/ 811 w 10000"/>
                <a:gd name="connsiteY4" fmla="*/ 6783 h 10000"/>
                <a:gd name="connsiteX5" fmla="*/ 394 w 10000"/>
                <a:gd name="connsiteY5" fmla="*/ 6409 h 10000"/>
                <a:gd name="connsiteX6" fmla="*/ 0 w 10000"/>
                <a:gd name="connsiteY6" fmla="*/ 5586 h 10000"/>
                <a:gd name="connsiteX7" fmla="*/ 811 w 10000"/>
                <a:gd name="connsiteY7" fmla="*/ 5985 h 10000"/>
                <a:gd name="connsiteX8" fmla="*/ 3194 w 10000"/>
                <a:gd name="connsiteY8" fmla="*/ 5586 h 10000"/>
                <a:gd name="connsiteX9" fmla="*/ 3194 w 10000"/>
                <a:gd name="connsiteY9" fmla="*/ 4788 h 10000"/>
                <a:gd name="connsiteX10" fmla="*/ 3611 w 10000"/>
                <a:gd name="connsiteY10" fmla="*/ 4389 h 10000"/>
                <a:gd name="connsiteX11" fmla="*/ 5208 w 10000"/>
                <a:gd name="connsiteY11" fmla="*/ 4015 h 10000"/>
                <a:gd name="connsiteX12" fmla="*/ 5208 w 10000"/>
                <a:gd name="connsiteY12" fmla="*/ 3192 h 10000"/>
                <a:gd name="connsiteX13" fmla="*/ 5602 w 10000"/>
                <a:gd name="connsiteY13" fmla="*/ 2818 h 10000"/>
                <a:gd name="connsiteX14" fmla="*/ 5602 w 10000"/>
                <a:gd name="connsiteY14" fmla="*/ 2394 h 10000"/>
                <a:gd name="connsiteX15" fmla="*/ 5995 w 10000"/>
                <a:gd name="connsiteY15" fmla="*/ 2394 h 10000"/>
                <a:gd name="connsiteX16" fmla="*/ 6412 w 10000"/>
                <a:gd name="connsiteY16" fmla="*/ 1621 h 10000"/>
                <a:gd name="connsiteX17" fmla="*/ 6412 w 10000"/>
                <a:gd name="connsiteY17" fmla="*/ 798 h 10000"/>
                <a:gd name="connsiteX18" fmla="*/ 7200 w 10000"/>
                <a:gd name="connsiteY18" fmla="*/ 424 h 10000"/>
                <a:gd name="connsiteX19" fmla="*/ 8010 w 10000"/>
                <a:gd name="connsiteY19" fmla="*/ 0 h 10000"/>
                <a:gd name="connsiteX20" fmla="*/ 8403 w 10000"/>
                <a:gd name="connsiteY20" fmla="*/ 0 h 10000"/>
                <a:gd name="connsiteX21" fmla="*/ 9190 w 10000"/>
                <a:gd name="connsiteY21" fmla="*/ 424 h 10000"/>
                <a:gd name="connsiteX22" fmla="*/ 10000 w 10000"/>
                <a:gd name="connsiteY22" fmla="*/ 1621 h 10000"/>
                <a:gd name="connsiteX23" fmla="*/ 9190 w 10000"/>
                <a:gd name="connsiteY23" fmla="*/ 1995 h 10000"/>
                <a:gd name="connsiteX24" fmla="*/ 8403 w 10000"/>
                <a:gd name="connsiteY24" fmla="*/ 1621 h 10000"/>
                <a:gd name="connsiteX25" fmla="*/ 8010 w 10000"/>
                <a:gd name="connsiteY25" fmla="*/ 1995 h 10000"/>
                <a:gd name="connsiteX26" fmla="*/ 8403 w 10000"/>
                <a:gd name="connsiteY26" fmla="*/ 2394 h 10000"/>
                <a:gd name="connsiteX27" fmla="*/ 8010 w 10000"/>
                <a:gd name="connsiteY27" fmla="*/ 3192 h 10000"/>
                <a:gd name="connsiteX28" fmla="*/ 8796 w 10000"/>
                <a:gd name="connsiteY28" fmla="*/ 3591 h 10000"/>
                <a:gd name="connsiteX29" fmla="*/ 8796 w 10000"/>
                <a:gd name="connsiteY29" fmla="*/ 4015 h 10000"/>
                <a:gd name="connsiteX30" fmla="*/ 8403 w 10000"/>
                <a:gd name="connsiteY30" fmla="*/ 4015 h 10000"/>
                <a:gd name="connsiteX31" fmla="*/ 8796 w 10000"/>
                <a:gd name="connsiteY31" fmla="*/ 4389 h 10000"/>
                <a:gd name="connsiteX32" fmla="*/ 6806 w 10000"/>
                <a:gd name="connsiteY32" fmla="*/ 6783 h 10000"/>
                <a:gd name="connsiteX33" fmla="*/ 5995 w 10000"/>
                <a:gd name="connsiteY33" fmla="*/ 7182 h 10000"/>
                <a:gd name="connsiteX34" fmla="*/ 5602 w 10000"/>
                <a:gd name="connsiteY34" fmla="*/ 6783 h 10000"/>
                <a:gd name="connsiteX35" fmla="*/ 5208 w 10000"/>
                <a:gd name="connsiteY35" fmla="*/ 7182 h 10000"/>
                <a:gd name="connsiteX36" fmla="*/ 5208 w 10000"/>
                <a:gd name="connsiteY36" fmla="*/ 7980 h 10000"/>
                <a:gd name="connsiteX37" fmla="*/ 5602 w 10000"/>
                <a:gd name="connsiteY37" fmla="*/ 7980 h 10000"/>
                <a:gd name="connsiteX38" fmla="*/ 5602 w 10000"/>
                <a:gd name="connsiteY38" fmla="*/ 8379 h 10000"/>
                <a:gd name="connsiteX39" fmla="*/ 5995 w 10000"/>
                <a:gd name="connsiteY39" fmla="*/ 8379 h 10000"/>
                <a:gd name="connsiteX40" fmla="*/ 5995 w 10000"/>
                <a:gd name="connsiteY40" fmla="*/ 9177 h 10000"/>
                <a:gd name="connsiteX41" fmla="*/ 5995 w 10000"/>
                <a:gd name="connsiteY41" fmla="*/ 9576 h 10000"/>
                <a:gd name="connsiteX42" fmla="*/ 4792 w 10000"/>
                <a:gd name="connsiteY42" fmla="*/ 9576 h 10000"/>
                <a:gd name="connsiteX43" fmla="*/ 4399 w 10000"/>
                <a:gd name="connsiteY43" fmla="*/ 10000 h 10000"/>
                <a:gd name="connsiteX44" fmla="*/ 4005 w 10000"/>
                <a:gd name="connsiteY44" fmla="*/ 9576 h 10000"/>
                <a:gd name="connsiteX45" fmla="*/ 3611 w 10000"/>
                <a:gd name="connsiteY45" fmla="*/ 8803 h 10000"/>
                <a:gd name="connsiteX46" fmla="*/ 2407 w 10000"/>
                <a:gd name="connsiteY46" fmla="*/ 8803 h 10000"/>
                <a:gd name="connsiteX47" fmla="*/ 1598 w 10000"/>
                <a:gd name="connsiteY47" fmla="*/ 8803 h 10000"/>
                <a:gd name="connsiteX48" fmla="*/ 394 w 10000"/>
                <a:gd name="connsiteY48" fmla="*/ 8803 h 10000"/>
                <a:gd name="connsiteX0" fmla="*/ 394 w 9190"/>
                <a:gd name="connsiteY0" fmla="*/ 8803 h 10000"/>
                <a:gd name="connsiteX1" fmla="*/ 394 w 9190"/>
                <a:gd name="connsiteY1" fmla="*/ 8803 h 10000"/>
                <a:gd name="connsiteX2" fmla="*/ 394 w 9190"/>
                <a:gd name="connsiteY2" fmla="*/ 7980 h 10000"/>
                <a:gd name="connsiteX3" fmla="*/ 1204 w 9190"/>
                <a:gd name="connsiteY3" fmla="*/ 7606 h 10000"/>
                <a:gd name="connsiteX4" fmla="*/ 811 w 9190"/>
                <a:gd name="connsiteY4" fmla="*/ 6783 h 10000"/>
                <a:gd name="connsiteX5" fmla="*/ 394 w 9190"/>
                <a:gd name="connsiteY5" fmla="*/ 6409 h 10000"/>
                <a:gd name="connsiteX6" fmla="*/ 0 w 9190"/>
                <a:gd name="connsiteY6" fmla="*/ 5586 h 10000"/>
                <a:gd name="connsiteX7" fmla="*/ 811 w 9190"/>
                <a:gd name="connsiteY7" fmla="*/ 5985 h 10000"/>
                <a:gd name="connsiteX8" fmla="*/ 3194 w 9190"/>
                <a:gd name="connsiteY8" fmla="*/ 5586 h 10000"/>
                <a:gd name="connsiteX9" fmla="*/ 3194 w 9190"/>
                <a:gd name="connsiteY9" fmla="*/ 4788 h 10000"/>
                <a:gd name="connsiteX10" fmla="*/ 3611 w 9190"/>
                <a:gd name="connsiteY10" fmla="*/ 4389 h 10000"/>
                <a:gd name="connsiteX11" fmla="*/ 5208 w 9190"/>
                <a:gd name="connsiteY11" fmla="*/ 4015 h 10000"/>
                <a:gd name="connsiteX12" fmla="*/ 5208 w 9190"/>
                <a:gd name="connsiteY12" fmla="*/ 3192 h 10000"/>
                <a:gd name="connsiteX13" fmla="*/ 5602 w 9190"/>
                <a:gd name="connsiteY13" fmla="*/ 2818 h 10000"/>
                <a:gd name="connsiteX14" fmla="*/ 5602 w 9190"/>
                <a:gd name="connsiteY14" fmla="*/ 2394 h 10000"/>
                <a:gd name="connsiteX15" fmla="*/ 5995 w 9190"/>
                <a:gd name="connsiteY15" fmla="*/ 2394 h 10000"/>
                <a:gd name="connsiteX16" fmla="*/ 6412 w 9190"/>
                <a:gd name="connsiteY16" fmla="*/ 1621 h 10000"/>
                <a:gd name="connsiteX17" fmla="*/ 6412 w 9190"/>
                <a:gd name="connsiteY17" fmla="*/ 798 h 10000"/>
                <a:gd name="connsiteX18" fmla="*/ 7200 w 9190"/>
                <a:gd name="connsiteY18" fmla="*/ 424 h 10000"/>
                <a:gd name="connsiteX19" fmla="*/ 8010 w 9190"/>
                <a:gd name="connsiteY19" fmla="*/ 0 h 10000"/>
                <a:gd name="connsiteX20" fmla="*/ 8403 w 9190"/>
                <a:gd name="connsiteY20" fmla="*/ 0 h 10000"/>
                <a:gd name="connsiteX21" fmla="*/ 9190 w 9190"/>
                <a:gd name="connsiteY21" fmla="*/ 424 h 10000"/>
                <a:gd name="connsiteX22" fmla="*/ 9190 w 9190"/>
                <a:gd name="connsiteY22" fmla="*/ 1995 h 10000"/>
                <a:gd name="connsiteX23" fmla="*/ 8403 w 9190"/>
                <a:gd name="connsiteY23" fmla="*/ 1621 h 10000"/>
                <a:gd name="connsiteX24" fmla="*/ 8010 w 9190"/>
                <a:gd name="connsiteY24" fmla="*/ 1995 h 10000"/>
                <a:gd name="connsiteX25" fmla="*/ 8403 w 9190"/>
                <a:gd name="connsiteY25" fmla="*/ 2394 h 10000"/>
                <a:gd name="connsiteX26" fmla="*/ 8010 w 9190"/>
                <a:gd name="connsiteY26" fmla="*/ 3192 h 10000"/>
                <a:gd name="connsiteX27" fmla="*/ 8796 w 9190"/>
                <a:gd name="connsiteY27" fmla="*/ 3591 h 10000"/>
                <a:gd name="connsiteX28" fmla="*/ 8796 w 9190"/>
                <a:gd name="connsiteY28" fmla="*/ 4015 h 10000"/>
                <a:gd name="connsiteX29" fmla="*/ 8403 w 9190"/>
                <a:gd name="connsiteY29" fmla="*/ 4015 h 10000"/>
                <a:gd name="connsiteX30" fmla="*/ 8796 w 9190"/>
                <a:gd name="connsiteY30" fmla="*/ 4389 h 10000"/>
                <a:gd name="connsiteX31" fmla="*/ 6806 w 9190"/>
                <a:gd name="connsiteY31" fmla="*/ 6783 h 10000"/>
                <a:gd name="connsiteX32" fmla="*/ 5995 w 9190"/>
                <a:gd name="connsiteY32" fmla="*/ 7182 h 10000"/>
                <a:gd name="connsiteX33" fmla="*/ 5602 w 9190"/>
                <a:gd name="connsiteY33" fmla="*/ 6783 h 10000"/>
                <a:gd name="connsiteX34" fmla="*/ 5208 w 9190"/>
                <a:gd name="connsiteY34" fmla="*/ 7182 h 10000"/>
                <a:gd name="connsiteX35" fmla="*/ 5208 w 9190"/>
                <a:gd name="connsiteY35" fmla="*/ 7980 h 10000"/>
                <a:gd name="connsiteX36" fmla="*/ 5602 w 9190"/>
                <a:gd name="connsiteY36" fmla="*/ 7980 h 10000"/>
                <a:gd name="connsiteX37" fmla="*/ 5602 w 9190"/>
                <a:gd name="connsiteY37" fmla="*/ 8379 h 10000"/>
                <a:gd name="connsiteX38" fmla="*/ 5995 w 9190"/>
                <a:gd name="connsiteY38" fmla="*/ 8379 h 10000"/>
                <a:gd name="connsiteX39" fmla="*/ 5995 w 9190"/>
                <a:gd name="connsiteY39" fmla="*/ 9177 h 10000"/>
                <a:gd name="connsiteX40" fmla="*/ 5995 w 9190"/>
                <a:gd name="connsiteY40" fmla="*/ 9576 h 10000"/>
                <a:gd name="connsiteX41" fmla="*/ 4792 w 9190"/>
                <a:gd name="connsiteY41" fmla="*/ 9576 h 10000"/>
                <a:gd name="connsiteX42" fmla="*/ 4399 w 9190"/>
                <a:gd name="connsiteY42" fmla="*/ 10000 h 10000"/>
                <a:gd name="connsiteX43" fmla="*/ 4005 w 9190"/>
                <a:gd name="connsiteY43" fmla="*/ 9576 h 10000"/>
                <a:gd name="connsiteX44" fmla="*/ 3611 w 9190"/>
                <a:gd name="connsiteY44" fmla="*/ 8803 h 10000"/>
                <a:gd name="connsiteX45" fmla="*/ 2407 w 9190"/>
                <a:gd name="connsiteY45" fmla="*/ 8803 h 10000"/>
                <a:gd name="connsiteX46" fmla="*/ 1598 w 9190"/>
                <a:gd name="connsiteY46" fmla="*/ 8803 h 10000"/>
                <a:gd name="connsiteX47" fmla="*/ 394 w 9190"/>
                <a:gd name="connsiteY47" fmla="*/ 8803 h 10000"/>
                <a:gd name="connsiteX0" fmla="*/ 429 w 10000"/>
                <a:gd name="connsiteY0" fmla="*/ 8803 h 10000"/>
                <a:gd name="connsiteX1" fmla="*/ 429 w 10000"/>
                <a:gd name="connsiteY1" fmla="*/ 8803 h 10000"/>
                <a:gd name="connsiteX2" fmla="*/ 429 w 10000"/>
                <a:gd name="connsiteY2" fmla="*/ 7980 h 10000"/>
                <a:gd name="connsiteX3" fmla="*/ 1310 w 10000"/>
                <a:gd name="connsiteY3" fmla="*/ 7606 h 10000"/>
                <a:gd name="connsiteX4" fmla="*/ 882 w 10000"/>
                <a:gd name="connsiteY4" fmla="*/ 6783 h 10000"/>
                <a:gd name="connsiteX5" fmla="*/ 429 w 10000"/>
                <a:gd name="connsiteY5" fmla="*/ 6409 h 10000"/>
                <a:gd name="connsiteX6" fmla="*/ 0 w 10000"/>
                <a:gd name="connsiteY6" fmla="*/ 5586 h 10000"/>
                <a:gd name="connsiteX7" fmla="*/ 882 w 10000"/>
                <a:gd name="connsiteY7" fmla="*/ 5985 h 10000"/>
                <a:gd name="connsiteX8" fmla="*/ 3476 w 10000"/>
                <a:gd name="connsiteY8" fmla="*/ 5586 h 10000"/>
                <a:gd name="connsiteX9" fmla="*/ 3476 w 10000"/>
                <a:gd name="connsiteY9" fmla="*/ 4788 h 10000"/>
                <a:gd name="connsiteX10" fmla="*/ 3929 w 10000"/>
                <a:gd name="connsiteY10" fmla="*/ 4389 h 10000"/>
                <a:gd name="connsiteX11" fmla="*/ 5667 w 10000"/>
                <a:gd name="connsiteY11" fmla="*/ 4015 h 10000"/>
                <a:gd name="connsiteX12" fmla="*/ 5667 w 10000"/>
                <a:gd name="connsiteY12" fmla="*/ 3192 h 10000"/>
                <a:gd name="connsiteX13" fmla="*/ 6096 w 10000"/>
                <a:gd name="connsiteY13" fmla="*/ 2818 h 10000"/>
                <a:gd name="connsiteX14" fmla="*/ 6096 w 10000"/>
                <a:gd name="connsiteY14" fmla="*/ 2394 h 10000"/>
                <a:gd name="connsiteX15" fmla="*/ 6523 w 10000"/>
                <a:gd name="connsiteY15" fmla="*/ 2394 h 10000"/>
                <a:gd name="connsiteX16" fmla="*/ 6977 w 10000"/>
                <a:gd name="connsiteY16" fmla="*/ 1621 h 10000"/>
                <a:gd name="connsiteX17" fmla="*/ 6977 w 10000"/>
                <a:gd name="connsiteY17" fmla="*/ 798 h 10000"/>
                <a:gd name="connsiteX18" fmla="*/ 7835 w 10000"/>
                <a:gd name="connsiteY18" fmla="*/ 424 h 10000"/>
                <a:gd name="connsiteX19" fmla="*/ 8716 w 10000"/>
                <a:gd name="connsiteY19" fmla="*/ 0 h 10000"/>
                <a:gd name="connsiteX20" fmla="*/ 9144 w 10000"/>
                <a:gd name="connsiteY20" fmla="*/ 0 h 10000"/>
                <a:gd name="connsiteX21" fmla="*/ 10000 w 10000"/>
                <a:gd name="connsiteY21" fmla="*/ 424 h 10000"/>
                <a:gd name="connsiteX22" fmla="*/ 9144 w 10000"/>
                <a:gd name="connsiteY22" fmla="*/ 1621 h 10000"/>
                <a:gd name="connsiteX23" fmla="*/ 8716 w 10000"/>
                <a:gd name="connsiteY23" fmla="*/ 1995 h 10000"/>
                <a:gd name="connsiteX24" fmla="*/ 9144 w 10000"/>
                <a:gd name="connsiteY24" fmla="*/ 2394 h 10000"/>
                <a:gd name="connsiteX25" fmla="*/ 8716 w 10000"/>
                <a:gd name="connsiteY25" fmla="*/ 3192 h 10000"/>
                <a:gd name="connsiteX26" fmla="*/ 9571 w 10000"/>
                <a:gd name="connsiteY26" fmla="*/ 3591 h 10000"/>
                <a:gd name="connsiteX27" fmla="*/ 9571 w 10000"/>
                <a:gd name="connsiteY27" fmla="*/ 4015 h 10000"/>
                <a:gd name="connsiteX28" fmla="*/ 9144 w 10000"/>
                <a:gd name="connsiteY28" fmla="*/ 4015 h 10000"/>
                <a:gd name="connsiteX29" fmla="*/ 9571 w 10000"/>
                <a:gd name="connsiteY29" fmla="*/ 4389 h 10000"/>
                <a:gd name="connsiteX30" fmla="*/ 7406 w 10000"/>
                <a:gd name="connsiteY30" fmla="*/ 6783 h 10000"/>
                <a:gd name="connsiteX31" fmla="*/ 6523 w 10000"/>
                <a:gd name="connsiteY31" fmla="*/ 7182 h 10000"/>
                <a:gd name="connsiteX32" fmla="*/ 6096 w 10000"/>
                <a:gd name="connsiteY32" fmla="*/ 6783 h 10000"/>
                <a:gd name="connsiteX33" fmla="*/ 5667 w 10000"/>
                <a:gd name="connsiteY33" fmla="*/ 7182 h 10000"/>
                <a:gd name="connsiteX34" fmla="*/ 5667 w 10000"/>
                <a:gd name="connsiteY34" fmla="*/ 7980 h 10000"/>
                <a:gd name="connsiteX35" fmla="*/ 6096 w 10000"/>
                <a:gd name="connsiteY35" fmla="*/ 7980 h 10000"/>
                <a:gd name="connsiteX36" fmla="*/ 6096 w 10000"/>
                <a:gd name="connsiteY36" fmla="*/ 8379 h 10000"/>
                <a:gd name="connsiteX37" fmla="*/ 6523 w 10000"/>
                <a:gd name="connsiteY37" fmla="*/ 8379 h 10000"/>
                <a:gd name="connsiteX38" fmla="*/ 6523 w 10000"/>
                <a:gd name="connsiteY38" fmla="*/ 9177 h 10000"/>
                <a:gd name="connsiteX39" fmla="*/ 6523 w 10000"/>
                <a:gd name="connsiteY39" fmla="*/ 9576 h 10000"/>
                <a:gd name="connsiteX40" fmla="*/ 5214 w 10000"/>
                <a:gd name="connsiteY40" fmla="*/ 9576 h 10000"/>
                <a:gd name="connsiteX41" fmla="*/ 4787 w 10000"/>
                <a:gd name="connsiteY41" fmla="*/ 10000 h 10000"/>
                <a:gd name="connsiteX42" fmla="*/ 4358 w 10000"/>
                <a:gd name="connsiteY42" fmla="*/ 9576 h 10000"/>
                <a:gd name="connsiteX43" fmla="*/ 3929 w 10000"/>
                <a:gd name="connsiteY43" fmla="*/ 8803 h 10000"/>
                <a:gd name="connsiteX44" fmla="*/ 2619 w 10000"/>
                <a:gd name="connsiteY44" fmla="*/ 8803 h 10000"/>
                <a:gd name="connsiteX45" fmla="*/ 1739 w 10000"/>
                <a:gd name="connsiteY45" fmla="*/ 8803 h 10000"/>
                <a:gd name="connsiteX46" fmla="*/ 429 w 10000"/>
                <a:gd name="connsiteY46" fmla="*/ 8803 h 10000"/>
                <a:gd name="connsiteX0" fmla="*/ 429 w 9571"/>
                <a:gd name="connsiteY0" fmla="*/ 8803 h 10000"/>
                <a:gd name="connsiteX1" fmla="*/ 429 w 9571"/>
                <a:gd name="connsiteY1" fmla="*/ 8803 h 10000"/>
                <a:gd name="connsiteX2" fmla="*/ 429 w 9571"/>
                <a:gd name="connsiteY2" fmla="*/ 7980 h 10000"/>
                <a:gd name="connsiteX3" fmla="*/ 1310 w 9571"/>
                <a:gd name="connsiteY3" fmla="*/ 7606 h 10000"/>
                <a:gd name="connsiteX4" fmla="*/ 882 w 9571"/>
                <a:gd name="connsiteY4" fmla="*/ 6783 h 10000"/>
                <a:gd name="connsiteX5" fmla="*/ 429 w 9571"/>
                <a:gd name="connsiteY5" fmla="*/ 6409 h 10000"/>
                <a:gd name="connsiteX6" fmla="*/ 0 w 9571"/>
                <a:gd name="connsiteY6" fmla="*/ 5586 h 10000"/>
                <a:gd name="connsiteX7" fmla="*/ 882 w 9571"/>
                <a:gd name="connsiteY7" fmla="*/ 5985 h 10000"/>
                <a:gd name="connsiteX8" fmla="*/ 3476 w 9571"/>
                <a:gd name="connsiteY8" fmla="*/ 5586 h 10000"/>
                <a:gd name="connsiteX9" fmla="*/ 3476 w 9571"/>
                <a:gd name="connsiteY9" fmla="*/ 4788 h 10000"/>
                <a:gd name="connsiteX10" fmla="*/ 3929 w 9571"/>
                <a:gd name="connsiteY10" fmla="*/ 4389 h 10000"/>
                <a:gd name="connsiteX11" fmla="*/ 5667 w 9571"/>
                <a:gd name="connsiteY11" fmla="*/ 4015 h 10000"/>
                <a:gd name="connsiteX12" fmla="*/ 5667 w 9571"/>
                <a:gd name="connsiteY12" fmla="*/ 3192 h 10000"/>
                <a:gd name="connsiteX13" fmla="*/ 6096 w 9571"/>
                <a:gd name="connsiteY13" fmla="*/ 2818 h 10000"/>
                <a:gd name="connsiteX14" fmla="*/ 6096 w 9571"/>
                <a:gd name="connsiteY14" fmla="*/ 2394 h 10000"/>
                <a:gd name="connsiteX15" fmla="*/ 6523 w 9571"/>
                <a:gd name="connsiteY15" fmla="*/ 2394 h 10000"/>
                <a:gd name="connsiteX16" fmla="*/ 6977 w 9571"/>
                <a:gd name="connsiteY16" fmla="*/ 1621 h 10000"/>
                <a:gd name="connsiteX17" fmla="*/ 6977 w 9571"/>
                <a:gd name="connsiteY17" fmla="*/ 798 h 10000"/>
                <a:gd name="connsiteX18" fmla="*/ 7835 w 9571"/>
                <a:gd name="connsiteY18" fmla="*/ 424 h 10000"/>
                <a:gd name="connsiteX19" fmla="*/ 8716 w 9571"/>
                <a:gd name="connsiteY19" fmla="*/ 0 h 10000"/>
                <a:gd name="connsiteX20" fmla="*/ 9144 w 9571"/>
                <a:gd name="connsiteY20" fmla="*/ 0 h 10000"/>
                <a:gd name="connsiteX21" fmla="*/ 9144 w 9571"/>
                <a:gd name="connsiteY21" fmla="*/ 1621 h 10000"/>
                <a:gd name="connsiteX22" fmla="*/ 8716 w 9571"/>
                <a:gd name="connsiteY22" fmla="*/ 1995 h 10000"/>
                <a:gd name="connsiteX23" fmla="*/ 9144 w 9571"/>
                <a:gd name="connsiteY23" fmla="*/ 2394 h 10000"/>
                <a:gd name="connsiteX24" fmla="*/ 8716 w 9571"/>
                <a:gd name="connsiteY24" fmla="*/ 3192 h 10000"/>
                <a:gd name="connsiteX25" fmla="*/ 9571 w 9571"/>
                <a:gd name="connsiteY25" fmla="*/ 3591 h 10000"/>
                <a:gd name="connsiteX26" fmla="*/ 9571 w 9571"/>
                <a:gd name="connsiteY26" fmla="*/ 4015 h 10000"/>
                <a:gd name="connsiteX27" fmla="*/ 9144 w 9571"/>
                <a:gd name="connsiteY27" fmla="*/ 4015 h 10000"/>
                <a:gd name="connsiteX28" fmla="*/ 9571 w 9571"/>
                <a:gd name="connsiteY28" fmla="*/ 4389 h 10000"/>
                <a:gd name="connsiteX29" fmla="*/ 7406 w 9571"/>
                <a:gd name="connsiteY29" fmla="*/ 6783 h 10000"/>
                <a:gd name="connsiteX30" fmla="*/ 6523 w 9571"/>
                <a:gd name="connsiteY30" fmla="*/ 7182 h 10000"/>
                <a:gd name="connsiteX31" fmla="*/ 6096 w 9571"/>
                <a:gd name="connsiteY31" fmla="*/ 6783 h 10000"/>
                <a:gd name="connsiteX32" fmla="*/ 5667 w 9571"/>
                <a:gd name="connsiteY32" fmla="*/ 7182 h 10000"/>
                <a:gd name="connsiteX33" fmla="*/ 5667 w 9571"/>
                <a:gd name="connsiteY33" fmla="*/ 7980 h 10000"/>
                <a:gd name="connsiteX34" fmla="*/ 6096 w 9571"/>
                <a:gd name="connsiteY34" fmla="*/ 7980 h 10000"/>
                <a:gd name="connsiteX35" fmla="*/ 6096 w 9571"/>
                <a:gd name="connsiteY35" fmla="*/ 8379 h 10000"/>
                <a:gd name="connsiteX36" fmla="*/ 6523 w 9571"/>
                <a:gd name="connsiteY36" fmla="*/ 8379 h 10000"/>
                <a:gd name="connsiteX37" fmla="*/ 6523 w 9571"/>
                <a:gd name="connsiteY37" fmla="*/ 9177 h 10000"/>
                <a:gd name="connsiteX38" fmla="*/ 6523 w 9571"/>
                <a:gd name="connsiteY38" fmla="*/ 9576 h 10000"/>
                <a:gd name="connsiteX39" fmla="*/ 5214 w 9571"/>
                <a:gd name="connsiteY39" fmla="*/ 9576 h 10000"/>
                <a:gd name="connsiteX40" fmla="*/ 4787 w 9571"/>
                <a:gd name="connsiteY40" fmla="*/ 10000 h 10000"/>
                <a:gd name="connsiteX41" fmla="*/ 4358 w 9571"/>
                <a:gd name="connsiteY41" fmla="*/ 9576 h 10000"/>
                <a:gd name="connsiteX42" fmla="*/ 3929 w 9571"/>
                <a:gd name="connsiteY42" fmla="*/ 8803 h 10000"/>
                <a:gd name="connsiteX43" fmla="*/ 2619 w 9571"/>
                <a:gd name="connsiteY43" fmla="*/ 8803 h 10000"/>
                <a:gd name="connsiteX44" fmla="*/ 1739 w 9571"/>
                <a:gd name="connsiteY44" fmla="*/ 8803 h 10000"/>
                <a:gd name="connsiteX45" fmla="*/ 429 w 9571"/>
                <a:gd name="connsiteY45" fmla="*/ 8803 h 10000"/>
                <a:gd name="connsiteX0" fmla="*/ 448 w 10000"/>
                <a:gd name="connsiteY0" fmla="*/ 8803 h 10000"/>
                <a:gd name="connsiteX1" fmla="*/ 448 w 10000"/>
                <a:gd name="connsiteY1" fmla="*/ 8803 h 10000"/>
                <a:gd name="connsiteX2" fmla="*/ 448 w 10000"/>
                <a:gd name="connsiteY2" fmla="*/ 7980 h 10000"/>
                <a:gd name="connsiteX3" fmla="*/ 1369 w 10000"/>
                <a:gd name="connsiteY3" fmla="*/ 7606 h 10000"/>
                <a:gd name="connsiteX4" fmla="*/ 922 w 10000"/>
                <a:gd name="connsiteY4" fmla="*/ 6783 h 10000"/>
                <a:gd name="connsiteX5" fmla="*/ 448 w 10000"/>
                <a:gd name="connsiteY5" fmla="*/ 6409 h 10000"/>
                <a:gd name="connsiteX6" fmla="*/ 0 w 10000"/>
                <a:gd name="connsiteY6" fmla="*/ 5586 h 10000"/>
                <a:gd name="connsiteX7" fmla="*/ 922 w 10000"/>
                <a:gd name="connsiteY7" fmla="*/ 5985 h 10000"/>
                <a:gd name="connsiteX8" fmla="*/ 3632 w 10000"/>
                <a:gd name="connsiteY8" fmla="*/ 5586 h 10000"/>
                <a:gd name="connsiteX9" fmla="*/ 3632 w 10000"/>
                <a:gd name="connsiteY9" fmla="*/ 4788 h 10000"/>
                <a:gd name="connsiteX10" fmla="*/ 4105 w 10000"/>
                <a:gd name="connsiteY10" fmla="*/ 4389 h 10000"/>
                <a:gd name="connsiteX11" fmla="*/ 5921 w 10000"/>
                <a:gd name="connsiteY11" fmla="*/ 4015 h 10000"/>
                <a:gd name="connsiteX12" fmla="*/ 5921 w 10000"/>
                <a:gd name="connsiteY12" fmla="*/ 3192 h 10000"/>
                <a:gd name="connsiteX13" fmla="*/ 6369 w 10000"/>
                <a:gd name="connsiteY13" fmla="*/ 2818 h 10000"/>
                <a:gd name="connsiteX14" fmla="*/ 6369 w 10000"/>
                <a:gd name="connsiteY14" fmla="*/ 2394 h 10000"/>
                <a:gd name="connsiteX15" fmla="*/ 6815 w 10000"/>
                <a:gd name="connsiteY15" fmla="*/ 2394 h 10000"/>
                <a:gd name="connsiteX16" fmla="*/ 7290 w 10000"/>
                <a:gd name="connsiteY16" fmla="*/ 1621 h 10000"/>
                <a:gd name="connsiteX17" fmla="*/ 7290 w 10000"/>
                <a:gd name="connsiteY17" fmla="*/ 798 h 10000"/>
                <a:gd name="connsiteX18" fmla="*/ 8186 w 10000"/>
                <a:gd name="connsiteY18" fmla="*/ 424 h 10000"/>
                <a:gd name="connsiteX19" fmla="*/ 9107 w 10000"/>
                <a:gd name="connsiteY19" fmla="*/ 0 h 10000"/>
                <a:gd name="connsiteX20" fmla="*/ 9554 w 10000"/>
                <a:gd name="connsiteY20" fmla="*/ 0 h 10000"/>
                <a:gd name="connsiteX21" fmla="*/ 8652 w 10000"/>
                <a:gd name="connsiteY21" fmla="*/ 800 h 10000"/>
                <a:gd name="connsiteX22" fmla="*/ 9554 w 10000"/>
                <a:gd name="connsiteY22" fmla="*/ 1621 h 10000"/>
                <a:gd name="connsiteX23" fmla="*/ 9107 w 10000"/>
                <a:gd name="connsiteY23" fmla="*/ 1995 h 10000"/>
                <a:gd name="connsiteX24" fmla="*/ 9554 w 10000"/>
                <a:gd name="connsiteY24" fmla="*/ 2394 h 10000"/>
                <a:gd name="connsiteX25" fmla="*/ 9107 w 10000"/>
                <a:gd name="connsiteY25" fmla="*/ 3192 h 10000"/>
                <a:gd name="connsiteX26" fmla="*/ 10000 w 10000"/>
                <a:gd name="connsiteY26" fmla="*/ 3591 h 10000"/>
                <a:gd name="connsiteX27" fmla="*/ 10000 w 10000"/>
                <a:gd name="connsiteY27" fmla="*/ 4015 h 10000"/>
                <a:gd name="connsiteX28" fmla="*/ 9554 w 10000"/>
                <a:gd name="connsiteY28" fmla="*/ 4015 h 10000"/>
                <a:gd name="connsiteX29" fmla="*/ 10000 w 10000"/>
                <a:gd name="connsiteY29" fmla="*/ 4389 h 10000"/>
                <a:gd name="connsiteX30" fmla="*/ 7738 w 10000"/>
                <a:gd name="connsiteY30" fmla="*/ 6783 h 10000"/>
                <a:gd name="connsiteX31" fmla="*/ 6815 w 10000"/>
                <a:gd name="connsiteY31" fmla="*/ 7182 h 10000"/>
                <a:gd name="connsiteX32" fmla="*/ 6369 w 10000"/>
                <a:gd name="connsiteY32" fmla="*/ 6783 h 10000"/>
                <a:gd name="connsiteX33" fmla="*/ 5921 w 10000"/>
                <a:gd name="connsiteY33" fmla="*/ 7182 h 10000"/>
                <a:gd name="connsiteX34" fmla="*/ 5921 w 10000"/>
                <a:gd name="connsiteY34" fmla="*/ 7980 h 10000"/>
                <a:gd name="connsiteX35" fmla="*/ 6369 w 10000"/>
                <a:gd name="connsiteY35" fmla="*/ 7980 h 10000"/>
                <a:gd name="connsiteX36" fmla="*/ 6369 w 10000"/>
                <a:gd name="connsiteY36" fmla="*/ 8379 h 10000"/>
                <a:gd name="connsiteX37" fmla="*/ 6815 w 10000"/>
                <a:gd name="connsiteY37" fmla="*/ 8379 h 10000"/>
                <a:gd name="connsiteX38" fmla="*/ 6815 w 10000"/>
                <a:gd name="connsiteY38" fmla="*/ 9177 h 10000"/>
                <a:gd name="connsiteX39" fmla="*/ 6815 w 10000"/>
                <a:gd name="connsiteY39" fmla="*/ 9576 h 10000"/>
                <a:gd name="connsiteX40" fmla="*/ 5448 w 10000"/>
                <a:gd name="connsiteY40" fmla="*/ 9576 h 10000"/>
                <a:gd name="connsiteX41" fmla="*/ 5002 w 10000"/>
                <a:gd name="connsiteY41" fmla="*/ 10000 h 10000"/>
                <a:gd name="connsiteX42" fmla="*/ 4553 w 10000"/>
                <a:gd name="connsiteY42" fmla="*/ 9576 h 10000"/>
                <a:gd name="connsiteX43" fmla="*/ 4105 w 10000"/>
                <a:gd name="connsiteY43" fmla="*/ 8803 h 10000"/>
                <a:gd name="connsiteX44" fmla="*/ 2736 w 10000"/>
                <a:gd name="connsiteY44" fmla="*/ 8803 h 10000"/>
                <a:gd name="connsiteX45" fmla="*/ 1817 w 10000"/>
                <a:gd name="connsiteY45" fmla="*/ 8803 h 10000"/>
                <a:gd name="connsiteX46" fmla="*/ 448 w 10000"/>
                <a:gd name="connsiteY46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015 h 10000"/>
                <a:gd name="connsiteX28" fmla="*/ 9554 w 10023"/>
                <a:gd name="connsiteY28" fmla="*/ 4015 h 10000"/>
                <a:gd name="connsiteX29" fmla="*/ 10000 w 10023"/>
                <a:gd name="connsiteY29" fmla="*/ 4389 h 10000"/>
                <a:gd name="connsiteX30" fmla="*/ 7738 w 10023"/>
                <a:gd name="connsiteY30" fmla="*/ 6783 h 10000"/>
                <a:gd name="connsiteX31" fmla="*/ 6815 w 10023"/>
                <a:gd name="connsiteY31" fmla="*/ 7182 h 10000"/>
                <a:gd name="connsiteX32" fmla="*/ 6369 w 10023"/>
                <a:gd name="connsiteY32" fmla="*/ 6783 h 10000"/>
                <a:gd name="connsiteX33" fmla="*/ 5921 w 10023"/>
                <a:gd name="connsiteY33" fmla="*/ 7182 h 10000"/>
                <a:gd name="connsiteX34" fmla="*/ 5921 w 10023"/>
                <a:gd name="connsiteY34" fmla="*/ 7980 h 10000"/>
                <a:gd name="connsiteX35" fmla="*/ 6369 w 10023"/>
                <a:gd name="connsiteY35" fmla="*/ 7980 h 10000"/>
                <a:gd name="connsiteX36" fmla="*/ 6369 w 10023"/>
                <a:gd name="connsiteY36" fmla="*/ 8379 h 10000"/>
                <a:gd name="connsiteX37" fmla="*/ 6815 w 10023"/>
                <a:gd name="connsiteY37" fmla="*/ 8379 h 10000"/>
                <a:gd name="connsiteX38" fmla="*/ 6815 w 10023"/>
                <a:gd name="connsiteY38" fmla="*/ 9177 h 10000"/>
                <a:gd name="connsiteX39" fmla="*/ 6815 w 10023"/>
                <a:gd name="connsiteY39" fmla="*/ 9576 h 10000"/>
                <a:gd name="connsiteX40" fmla="*/ 5448 w 10023"/>
                <a:gd name="connsiteY40" fmla="*/ 9576 h 10000"/>
                <a:gd name="connsiteX41" fmla="*/ 5002 w 10023"/>
                <a:gd name="connsiteY41" fmla="*/ 10000 h 10000"/>
                <a:gd name="connsiteX42" fmla="*/ 4553 w 10023"/>
                <a:gd name="connsiteY42" fmla="*/ 9576 h 10000"/>
                <a:gd name="connsiteX43" fmla="*/ 4105 w 10023"/>
                <a:gd name="connsiteY43" fmla="*/ 8803 h 10000"/>
                <a:gd name="connsiteX44" fmla="*/ 2736 w 10023"/>
                <a:gd name="connsiteY44" fmla="*/ 8803 h 10000"/>
                <a:gd name="connsiteX45" fmla="*/ 1817 w 10023"/>
                <a:gd name="connsiteY45" fmla="*/ 8803 h 10000"/>
                <a:gd name="connsiteX46" fmla="*/ 448 w 10023"/>
                <a:gd name="connsiteY46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015 h 10000"/>
                <a:gd name="connsiteX28" fmla="*/ 10000 w 10023"/>
                <a:gd name="connsiteY28" fmla="*/ 4389 h 10000"/>
                <a:gd name="connsiteX29" fmla="*/ 7738 w 10023"/>
                <a:gd name="connsiteY29" fmla="*/ 6783 h 10000"/>
                <a:gd name="connsiteX30" fmla="*/ 6815 w 10023"/>
                <a:gd name="connsiteY30" fmla="*/ 7182 h 10000"/>
                <a:gd name="connsiteX31" fmla="*/ 6369 w 10023"/>
                <a:gd name="connsiteY31" fmla="*/ 6783 h 10000"/>
                <a:gd name="connsiteX32" fmla="*/ 5921 w 10023"/>
                <a:gd name="connsiteY32" fmla="*/ 7182 h 10000"/>
                <a:gd name="connsiteX33" fmla="*/ 5921 w 10023"/>
                <a:gd name="connsiteY33" fmla="*/ 7980 h 10000"/>
                <a:gd name="connsiteX34" fmla="*/ 6369 w 10023"/>
                <a:gd name="connsiteY34" fmla="*/ 7980 h 10000"/>
                <a:gd name="connsiteX35" fmla="*/ 6369 w 10023"/>
                <a:gd name="connsiteY35" fmla="*/ 8379 h 10000"/>
                <a:gd name="connsiteX36" fmla="*/ 6815 w 10023"/>
                <a:gd name="connsiteY36" fmla="*/ 8379 h 10000"/>
                <a:gd name="connsiteX37" fmla="*/ 6815 w 10023"/>
                <a:gd name="connsiteY37" fmla="*/ 9177 h 10000"/>
                <a:gd name="connsiteX38" fmla="*/ 6815 w 10023"/>
                <a:gd name="connsiteY38" fmla="*/ 9576 h 10000"/>
                <a:gd name="connsiteX39" fmla="*/ 5448 w 10023"/>
                <a:gd name="connsiteY39" fmla="*/ 9576 h 10000"/>
                <a:gd name="connsiteX40" fmla="*/ 5002 w 10023"/>
                <a:gd name="connsiteY40" fmla="*/ 10000 h 10000"/>
                <a:gd name="connsiteX41" fmla="*/ 4553 w 10023"/>
                <a:gd name="connsiteY41" fmla="*/ 9576 h 10000"/>
                <a:gd name="connsiteX42" fmla="*/ 4105 w 10023"/>
                <a:gd name="connsiteY42" fmla="*/ 8803 h 10000"/>
                <a:gd name="connsiteX43" fmla="*/ 2736 w 10023"/>
                <a:gd name="connsiteY43" fmla="*/ 8803 h 10000"/>
                <a:gd name="connsiteX44" fmla="*/ 1817 w 10023"/>
                <a:gd name="connsiteY44" fmla="*/ 8803 h 10000"/>
                <a:gd name="connsiteX45" fmla="*/ 448 w 10023"/>
                <a:gd name="connsiteY45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389 h 10000"/>
                <a:gd name="connsiteX28" fmla="*/ 7738 w 10023"/>
                <a:gd name="connsiteY28" fmla="*/ 6783 h 10000"/>
                <a:gd name="connsiteX29" fmla="*/ 6815 w 10023"/>
                <a:gd name="connsiteY29" fmla="*/ 7182 h 10000"/>
                <a:gd name="connsiteX30" fmla="*/ 6369 w 10023"/>
                <a:gd name="connsiteY30" fmla="*/ 6783 h 10000"/>
                <a:gd name="connsiteX31" fmla="*/ 5921 w 10023"/>
                <a:gd name="connsiteY31" fmla="*/ 7182 h 10000"/>
                <a:gd name="connsiteX32" fmla="*/ 5921 w 10023"/>
                <a:gd name="connsiteY32" fmla="*/ 7980 h 10000"/>
                <a:gd name="connsiteX33" fmla="*/ 6369 w 10023"/>
                <a:gd name="connsiteY33" fmla="*/ 7980 h 10000"/>
                <a:gd name="connsiteX34" fmla="*/ 6369 w 10023"/>
                <a:gd name="connsiteY34" fmla="*/ 8379 h 10000"/>
                <a:gd name="connsiteX35" fmla="*/ 6815 w 10023"/>
                <a:gd name="connsiteY35" fmla="*/ 8379 h 10000"/>
                <a:gd name="connsiteX36" fmla="*/ 6815 w 10023"/>
                <a:gd name="connsiteY36" fmla="*/ 9177 h 10000"/>
                <a:gd name="connsiteX37" fmla="*/ 6815 w 10023"/>
                <a:gd name="connsiteY37" fmla="*/ 9576 h 10000"/>
                <a:gd name="connsiteX38" fmla="*/ 5448 w 10023"/>
                <a:gd name="connsiteY38" fmla="*/ 9576 h 10000"/>
                <a:gd name="connsiteX39" fmla="*/ 5002 w 10023"/>
                <a:gd name="connsiteY39" fmla="*/ 10000 h 10000"/>
                <a:gd name="connsiteX40" fmla="*/ 4553 w 10023"/>
                <a:gd name="connsiteY40" fmla="*/ 9576 h 10000"/>
                <a:gd name="connsiteX41" fmla="*/ 4105 w 10023"/>
                <a:gd name="connsiteY41" fmla="*/ 8803 h 10000"/>
                <a:gd name="connsiteX42" fmla="*/ 2736 w 10023"/>
                <a:gd name="connsiteY42" fmla="*/ 8803 h 10000"/>
                <a:gd name="connsiteX43" fmla="*/ 1817 w 10023"/>
                <a:gd name="connsiteY43" fmla="*/ 8803 h 10000"/>
                <a:gd name="connsiteX44" fmla="*/ 448 w 10023"/>
                <a:gd name="connsiteY44" fmla="*/ 8803 h 10000"/>
                <a:gd name="connsiteX0" fmla="*/ 448 w 10381"/>
                <a:gd name="connsiteY0" fmla="*/ 8803 h 10000"/>
                <a:gd name="connsiteX1" fmla="*/ 448 w 10381"/>
                <a:gd name="connsiteY1" fmla="*/ 8803 h 10000"/>
                <a:gd name="connsiteX2" fmla="*/ 448 w 10381"/>
                <a:gd name="connsiteY2" fmla="*/ 7980 h 10000"/>
                <a:gd name="connsiteX3" fmla="*/ 1369 w 10381"/>
                <a:gd name="connsiteY3" fmla="*/ 7606 h 10000"/>
                <a:gd name="connsiteX4" fmla="*/ 922 w 10381"/>
                <a:gd name="connsiteY4" fmla="*/ 6783 h 10000"/>
                <a:gd name="connsiteX5" fmla="*/ 448 w 10381"/>
                <a:gd name="connsiteY5" fmla="*/ 6409 h 10000"/>
                <a:gd name="connsiteX6" fmla="*/ 0 w 10381"/>
                <a:gd name="connsiteY6" fmla="*/ 5586 h 10000"/>
                <a:gd name="connsiteX7" fmla="*/ 922 w 10381"/>
                <a:gd name="connsiteY7" fmla="*/ 5985 h 10000"/>
                <a:gd name="connsiteX8" fmla="*/ 3632 w 10381"/>
                <a:gd name="connsiteY8" fmla="*/ 5586 h 10000"/>
                <a:gd name="connsiteX9" fmla="*/ 3632 w 10381"/>
                <a:gd name="connsiteY9" fmla="*/ 4788 h 10000"/>
                <a:gd name="connsiteX10" fmla="*/ 4105 w 10381"/>
                <a:gd name="connsiteY10" fmla="*/ 4389 h 10000"/>
                <a:gd name="connsiteX11" fmla="*/ 5921 w 10381"/>
                <a:gd name="connsiteY11" fmla="*/ 4015 h 10000"/>
                <a:gd name="connsiteX12" fmla="*/ 5921 w 10381"/>
                <a:gd name="connsiteY12" fmla="*/ 3192 h 10000"/>
                <a:gd name="connsiteX13" fmla="*/ 6369 w 10381"/>
                <a:gd name="connsiteY13" fmla="*/ 2818 h 10000"/>
                <a:gd name="connsiteX14" fmla="*/ 6369 w 10381"/>
                <a:gd name="connsiteY14" fmla="*/ 2394 h 10000"/>
                <a:gd name="connsiteX15" fmla="*/ 6815 w 10381"/>
                <a:gd name="connsiteY15" fmla="*/ 2394 h 10000"/>
                <a:gd name="connsiteX16" fmla="*/ 7290 w 10381"/>
                <a:gd name="connsiteY16" fmla="*/ 1621 h 10000"/>
                <a:gd name="connsiteX17" fmla="*/ 7290 w 10381"/>
                <a:gd name="connsiteY17" fmla="*/ 798 h 10000"/>
                <a:gd name="connsiteX18" fmla="*/ 8186 w 10381"/>
                <a:gd name="connsiteY18" fmla="*/ 424 h 10000"/>
                <a:gd name="connsiteX19" fmla="*/ 9107 w 10381"/>
                <a:gd name="connsiteY19" fmla="*/ 0 h 10000"/>
                <a:gd name="connsiteX20" fmla="*/ 9554 w 10381"/>
                <a:gd name="connsiteY20" fmla="*/ 0 h 10000"/>
                <a:gd name="connsiteX21" fmla="*/ 8652 w 10381"/>
                <a:gd name="connsiteY21" fmla="*/ 800 h 10000"/>
                <a:gd name="connsiteX22" fmla="*/ 9554 w 10381"/>
                <a:gd name="connsiteY22" fmla="*/ 1621 h 10000"/>
                <a:gd name="connsiteX23" fmla="*/ 9107 w 10381"/>
                <a:gd name="connsiteY23" fmla="*/ 1995 h 10000"/>
                <a:gd name="connsiteX24" fmla="*/ 9554 w 10381"/>
                <a:gd name="connsiteY24" fmla="*/ 2394 h 10000"/>
                <a:gd name="connsiteX25" fmla="*/ 10023 w 10381"/>
                <a:gd name="connsiteY25" fmla="*/ 2850 h 10000"/>
                <a:gd name="connsiteX26" fmla="*/ 10000 w 10381"/>
                <a:gd name="connsiteY26" fmla="*/ 4389 h 10000"/>
                <a:gd name="connsiteX27" fmla="*/ 7738 w 10381"/>
                <a:gd name="connsiteY27" fmla="*/ 6783 h 10000"/>
                <a:gd name="connsiteX28" fmla="*/ 6815 w 10381"/>
                <a:gd name="connsiteY28" fmla="*/ 7182 h 10000"/>
                <a:gd name="connsiteX29" fmla="*/ 6369 w 10381"/>
                <a:gd name="connsiteY29" fmla="*/ 6783 h 10000"/>
                <a:gd name="connsiteX30" fmla="*/ 5921 w 10381"/>
                <a:gd name="connsiteY30" fmla="*/ 7182 h 10000"/>
                <a:gd name="connsiteX31" fmla="*/ 5921 w 10381"/>
                <a:gd name="connsiteY31" fmla="*/ 7980 h 10000"/>
                <a:gd name="connsiteX32" fmla="*/ 6369 w 10381"/>
                <a:gd name="connsiteY32" fmla="*/ 7980 h 10000"/>
                <a:gd name="connsiteX33" fmla="*/ 6369 w 10381"/>
                <a:gd name="connsiteY33" fmla="*/ 8379 h 10000"/>
                <a:gd name="connsiteX34" fmla="*/ 6815 w 10381"/>
                <a:gd name="connsiteY34" fmla="*/ 8379 h 10000"/>
                <a:gd name="connsiteX35" fmla="*/ 6815 w 10381"/>
                <a:gd name="connsiteY35" fmla="*/ 9177 h 10000"/>
                <a:gd name="connsiteX36" fmla="*/ 6815 w 10381"/>
                <a:gd name="connsiteY36" fmla="*/ 9576 h 10000"/>
                <a:gd name="connsiteX37" fmla="*/ 5448 w 10381"/>
                <a:gd name="connsiteY37" fmla="*/ 9576 h 10000"/>
                <a:gd name="connsiteX38" fmla="*/ 5002 w 10381"/>
                <a:gd name="connsiteY38" fmla="*/ 10000 h 10000"/>
                <a:gd name="connsiteX39" fmla="*/ 4553 w 10381"/>
                <a:gd name="connsiteY39" fmla="*/ 9576 h 10000"/>
                <a:gd name="connsiteX40" fmla="*/ 4105 w 10381"/>
                <a:gd name="connsiteY40" fmla="*/ 8803 h 10000"/>
                <a:gd name="connsiteX41" fmla="*/ 2736 w 10381"/>
                <a:gd name="connsiteY41" fmla="*/ 8803 h 10000"/>
                <a:gd name="connsiteX42" fmla="*/ 1817 w 10381"/>
                <a:gd name="connsiteY42" fmla="*/ 8803 h 10000"/>
                <a:gd name="connsiteX43" fmla="*/ 448 w 10381"/>
                <a:gd name="connsiteY43" fmla="*/ 8803 h 10000"/>
                <a:gd name="connsiteX0" fmla="*/ 448 w 10403"/>
                <a:gd name="connsiteY0" fmla="*/ 8803 h 10000"/>
                <a:gd name="connsiteX1" fmla="*/ 448 w 10403"/>
                <a:gd name="connsiteY1" fmla="*/ 8803 h 10000"/>
                <a:gd name="connsiteX2" fmla="*/ 448 w 10403"/>
                <a:gd name="connsiteY2" fmla="*/ 7980 h 10000"/>
                <a:gd name="connsiteX3" fmla="*/ 1369 w 10403"/>
                <a:gd name="connsiteY3" fmla="*/ 7606 h 10000"/>
                <a:gd name="connsiteX4" fmla="*/ 922 w 10403"/>
                <a:gd name="connsiteY4" fmla="*/ 6783 h 10000"/>
                <a:gd name="connsiteX5" fmla="*/ 448 w 10403"/>
                <a:gd name="connsiteY5" fmla="*/ 6409 h 10000"/>
                <a:gd name="connsiteX6" fmla="*/ 0 w 10403"/>
                <a:gd name="connsiteY6" fmla="*/ 5586 h 10000"/>
                <a:gd name="connsiteX7" fmla="*/ 922 w 10403"/>
                <a:gd name="connsiteY7" fmla="*/ 5985 h 10000"/>
                <a:gd name="connsiteX8" fmla="*/ 3632 w 10403"/>
                <a:gd name="connsiteY8" fmla="*/ 5586 h 10000"/>
                <a:gd name="connsiteX9" fmla="*/ 3632 w 10403"/>
                <a:gd name="connsiteY9" fmla="*/ 4788 h 10000"/>
                <a:gd name="connsiteX10" fmla="*/ 4105 w 10403"/>
                <a:gd name="connsiteY10" fmla="*/ 4389 h 10000"/>
                <a:gd name="connsiteX11" fmla="*/ 5921 w 10403"/>
                <a:gd name="connsiteY11" fmla="*/ 4015 h 10000"/>
                <a:gd name="connsiteX12" fmla="*/ 5921 w 10403"/>
                <a:gd name="connsiteY12" fmla="*/ 3192 h 10000"/>
                <a:gd name="connsiteX13" fmla="*/ 6369 w 10403"/>
                <a:gd name="connsiteY13" fmla="*/ 2818 h 10000"/>
                <a:gd name="connsiteX14" fmla="*/ 6369 w 10403"/>
                <a:gd name="connsiteY14" fmla="*/ 2394 h 10000"/>
                <a:gd name="connsiteX15" fmla="*/ 6815 w 10403"/>
                <a:gd name="connsiteY15" fmla="*/ 2394 h 10000"/>
                <a:gd name="connsiteX16" fmla="*/ 7290 w 10403"/>
                <a:gd name="connsiteY16" fmla="*/ 1621 h 10000"/>
                <a:gd name="connsiteX17" fmla="*/ 7290 w 10403"/>
                <a:gd name="connsiteY17" fmla="*/ 798 h 10000"/>
                <a:gd name="connsiteX18" fmla="*/ 8186 w 10403"/>
                <a:gd name="connsiteY18" fmla="*/ 424 h 10000"/>
                <a:gd name="connsiteX19" fmla="*/ 9107 w 10403"/>
                <a:gd name="connsiteY19" fmla="*/ 0 h 10000"/>
                <a:gd name="connsiteX20" fmla="*/ 9554 w 10403"/>
                <a:gd name="connsiteY20" fmla="*/ 0 h 10000"/>
                <a:gd name="connsiteX21" fmla="*/ 8652 w 10403"/>
                <a:gd name="connsiteY21" fmla="*/ 800 h 10000"/>
                <a:gd name="connsiteX22" fmla="*/ 9554 w 10403"/>
                <a:gd name="connsiteY22" fmla="*/ 1621 h 10000"/>
                <a:gd name="connsiteX23" fmla="*/ 9107 w 10403"/>
                <a:gd name="connsiteY23" fmla="*/ 1995 h 10000"/>
                <a:gd name="connsiteX24" fmla="*/ 9554 w 10403"/>
                <a:gd name="connsiteY24" fmla="*/ 2394 h 10000"/>
                <a:gd name="connsiteX25" fmla="*/ 10023 w 10403"/>
                <a:gd name="connsiteY25" fmla="*/ 2850 h 10000"/>
                <a:gd name="connsiteX26" fmla="*/ 10381 w 10403"/>
                <a:gd name="connsiteY26" fmla="*/ 3200 h 10000"/>
                <a:gd name="connsiteX27" fmla="*/ 10000 w 10403"/>
                <a:gd name="connsiteY27" fmla="*/ 4389 h 10000"/>
                <a:gd name="connsiteX28" fmla="*/ 7738 w 10403"/>
                <a:gd name="connsiteY28" fmla="*/ 6783 h 10000"/>
                <a:gd name="connsiteX29" fmla="*/ 6815 w 10403"/>
                <a:gd name="connsiteY29" fmla="*/ 7182 h 10000"/>
                <a:gd name="connsiteX30" fmla="*/ 6369 w 10403"/>
                <a:gd name="connsiteY30" fmla="*/ 6783 h 10000"/>
                <a:gd name="connsiteX31" fmla="*/ 5921 w 10403"/>
                <a:gd name="connsiteY31" fmla="*/ 7182 h 10000"/>
                <a:gd name="connsiteX32" fmla="*/ 5921 w 10403"/>
                <a:gd name="connsiteY32" fmla="*/ 7980 h 10000"/>
                <a:gd name="connsiteX33" fmla="*/ 6369 w 10403"/>
                <a:gd name="connsiteY33" fmla="*/ 7980 h 10000"/>
                <a:gd name="connsiteX34" fmla="*/ 6369 w 10403"/>
                <a:gd name="connsiteY34" fmla="*/ 8379 h 10000"/>
                <a:gd name="connsiteX35" fmla="*/ 6815 w 10403"/>
                <a:gd name="connsiteY35" fmla="*/ 8379 h 10000"/>
                <a:gd name="connsiteX36" fmla="*/ 6815 w 10403"/>
                <a:gd name="connsiteY36" fmla="*/ 9177 h 10000"/>
                <a:gd name="connsiteX37" fmla="*/ 6815 w 10403"/>
                <a:gd name="connsiteY37" fmla="*/ 9576 h 10000"/>
                <a:gd name="connsiteX38" fmla="*/ 5448 w 10403"/>
                <a:gd name="connsiteY38" fmla="*/ 9576 h 10000"/>
                <a:gd name="connsiteX39" fmla="*/ 5002 w 10403"/>
                <a:gd name="connsiteY39" fmla="*/ 10000 h 10000"/>
                <a:gd name="connsiteX40" fmla="*/ 4553 w 10403"/>
                <a:gd name="connsiteY40" fmla="*/ 9576 h 10000"/>
                <a:gd name="connsiteX41" fmla="*/ 4105 w 10403"/>
                <a:gd name="connsiteY41" fmla="*/ 8803 h 10000"/>
                <a:gd name="connsiteX42" fmla="*/ 2736 w 10403"/>
                <a:gd name="connsiteY42" fmla="*/ 8803 h 10000"/>
                <a:gd name="connsiteX43" fmla="*/ 1817 w 10403"/>
                <a:gd name="connsiteY43" fmla="*/ 8803 h 10000"/>
                <a:gd name="connsiteX44" fmla="*/ 448 w 10403"/>
                <a:gd name="connsiteY44" fmla="*/ 8803 h 10000"/>
                <a:gd name="connsiteX0" fmla="*/ 448 w 10403"/>
                <a:gd name="connsiteY0" fmla="*/ 8803 h 10000"/>
                <a:gd name="connsiteX1" fmla="*/ 448 w 10403"/>
                <a:gd name="connsiteY1" fmla="*/ 8803 h 10000"/>
                <a:gd name="connsiteX2" fmla="*/ 448 w 10403"/>
                <a:gd name="connsiteY2" fmla="*/ 7980 h 10000"/>
                <a:gd name="connsiteX3" fmla="*/ 1369 w 10403"/>
                <a:gd name="connsiteY3" fmla="*/ 7606 h 10000"/>
                <a:gd name="connsiteX4" fmla="*/ 922 w 10403"/>
                <a:gd name="connsiteY4" fmla="*/ 6783 h 10000"/>
                <a:gd name="connsiteX5" fmla="*/ 448 w 10403"/>
                <a:gd name="connsiteY5" fmla="*/ 6409 h 10000"/>
                <a:gd name="connsiteX6" fmla="*/ 0 w 10403"/>
                <a:gd name="connsiteY6" fmla="*/ 5586 h 10000"/>
                <a:gd name="connsiteX7" fmla="*/ 922 w 10403"/>
                <a:gd name="connsiteY7" fmla="*/ 5985 h 10000"/>
                <a:gd name="connsiteX8" fmla="*/ 3632 w 10403"/>
                <a:gd name="connsiteY8" fmla="*/ 5586 h 10000"/>
                <a:gd name="connsiteX9" fmla="*/ 3632 w 10403"/>
                <a:gd name="connsiteY9" fmla="*/ 4788 h 10000"/>
                <a:gd name="connsiteX10" fmla="*/ 4105 w 10403"/>
                <a:gd name="connsiteY10" fmla="*/ 4389 h 10000"/>
                <a:gd name="connsiteX11" fmla="*/ 5921 w 10403"/>
                <a:gd name="connsiteY11" fmla="*/ 4015 h 10000"/>
                <a:gd name="connsiteX12" fmla="*/ 5921 w 10403"/>
                <a:gd name="connsiteY12" fmla="*/ 3192 h 10000"/>
                <a:gd name="connsiteX13" fmla="*/ 6369 w 10403"/>
                <a:gd name="connsiteY13" fmla="*/ 2818 h 10000"/>
                <a:gd name="connsiteX14" fmla="*/ 6369 w 10403"/>
                <a:gd name="connsiteY14" fmla="*/ 2394 h 10000"/>
                <a:gd name="connsiteX15" fmla="*/ 6815 w 10403"/>
                <a:gd name="connsiteY15" fmla="*/ 2394 h 10000"/>
                <a:gd name="connsiteX16" fmla="*/ 7290 w 10403"/>
                <a:gd name="connsiteY16" fmla="*/ 1621 h 10000"/>
                <a:gd name="connsiteX17" fmla="*/ 7290 w 10403"/>
                <a:gd name="connsiteY17" fmla="*/ 798 h 10000"/>
                <a:gd name="connsiteX18" fmla="*/ 8186 w 10403"/>
                <a:gd name="connsiteY18" fmla="*/ 424 h 10000"/>
                <a:gd name="connsiteX19" fmla="*/ 9107 w 10403"/>
                <a:gd name="connsiteY19" fmla="*/ 0 h 10000"/>
                <a:gd name="connsiteX20" fmla="*/ 9554 w 10403"/>
                <a:gd name="connsiteY20" fmla="*/ 0 h 10000"/>
                <a:gd name="connsiteX21" fmla="*/ 9074 w 10403"/>
                <a:gd name="connsiteY21" fmla="*/ 800 h 10000"/>
                <a:gd name="connsiteX22" fmla="*/ 9554 w 10403"/>
                <a:gd name="connsiteY22" fmla="*/ 1621 h 10000"/>
                <a:gd name="connsiteX23" fmla="*/ 9107 w 10403"/>
                <a:gd name="connsiteY23" fmla="*/ 1995 h 10000"/>
                <a:gd name="connsiteX24" fmla="*/ 9554 w 10403"/>
                <a:gd name="connsiteY24" fmla="*/ 2394 h 10000"/>
                <a:gd name="connsiteX25" fmla="*/ 10023 w 10403"/>
                <a:gd name="connsiteY25" fmla="*/ 2850 h 10000"/>
                <a:gd name="connsiteX26" fmla="*/ 10381 w 10403"/>
                <a:gd name="connsiteY26" fmla="*/ 3200 h 10000"/>
                <a:gd name="connsiteX27" fmla="*/ 10000 w 10403"/>
                <a:gd name="connsiteY27" fmla="*/ 4389 h 10000"/>
                <a:gd name="connsiteX28" fmla="*/ 7738 w 10403"/>
                <a:gd name="connsiteY28" fmla="*/ 6783 h 10000"/>
                <a:gd name="connsiteX29" fmla="*/ 6815 w 10403"/>
                <a:gd name="connsiteY29" fmla="*/ 7182 h 10000"/>
                <a:gd name="connsiteX30" fmla="*/ 6369 w 10403"/>
                <a:gd name="connsiteY30" fmla="*/ 6783 h 10000"/>
                <a:gd name="connsiteX31" fmla="*/ 5921 w 10403"/>
                <a:gd name="connsiteY31" fmla="*/ 7182 h 10000"/>
                <a:gd name="connsiteX32" fmla="*/ 5921 w 10403"/>
                <a:gd name="connsiteY32" fmla="*/ 7980 h 10000"/>
                <a:gd name="connsiteX33" fmla="*/ 6369 w 10403"/>
                <a:gd name="connsiteY33" fmla="*/ 7980 h 10000"/>
                <a:gd name="connsiteX34" fmla="*/ 6369 w 10403"/>
                <a:gd name="connsiteY34" fmla="*/ 8379 h 10000"/>
                <a:gd name="connsiteX35" fmla="*/ 6815 w 10403"/>
                <a:gd name="connsiteY35" fmla="*/ 8379 h 10000"/>
                <a:gd name="connsiteX36" fmla="*/ 6815 w 10403"/>
                <a:gd name="connsiteY36" fmla="*/ 9177 h 10000"/>
                <a:gd name="connsiteX37" fmla="*/ 6815 w 10403"/>
                <a:gd name="connsiteY37" fmla="*/ 9576 h 10000"/>
                <a:gd name="connsiteX38" fmla="*/ 5448 w 10403"/>
                <a:gd name="connsiteY38" fmla="*/ 9576 h 10000"/>
                <a:gd name="connsiteX39" fmla="*/ 5002 w 10403"/>
                <a:gd name="connsiteY39" fmla="*/ 10000 h 10000"/>
                <a:gd name="connsiteX40" fmla="*/ 4553 w 10403"/>
                <a:gd name="connsiteY40" fmla="*/ 9576 h 10000"/>
                <a:gd name="connsiteX41" fmla="*/ 4105 w 10403"/>
                <a:gd name="connsiteY41" fmla="*/ 8803 h 10000"/>
                <a:gd name="connsiteX42" fmla="*/ 2736 w 10403"/>
                <a:gd name="connsiteY42" fmla="*/ 8803 h 10000"/>
                <a:gd name="connsiteX43" fmla="*/ 1817 w 10403"/>
                <a:gd name="connsiteY43" fmla="*/ 8803 h 10000"/>
                <a:gd name="connsiteX44" fmla="*/ 448 w 10403"/>
                <a:gd name="connsiteY44" fmla="*/ 880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403" h="10000">
                  <a:moveTo>
                    <a:pt x="448" y="8803"/>
                  </a:moveTo>
                  <a:lnTo>
                    <a:pt x="448" y="8803"/>
                  </a:lnTo>
                  <a:lnTo>
                    <a:pt x="448" y="7980"/>
                  </a:lnTo>
                  <a:lnTo>
                    <a:pt x="1369" y="7606"/>
                  </a:lnTo>
                  <a:lnTo>
                    <a:pt x="922" y="6783"/>
                  </a:lnTo>
                  <a:lnTo>
                    <a:pt x="448" y="6409"/>
                  </a:lnTo>
                  <a:lnTo>
                    <a:pt x="0" y="5586"/>
                  </a:lnTo>
                  <a:lnTo>
                    <a:pt x="922" y="5985"/>
                  </a:lnTo>
                  <a:lnTo>
                    <a:pt x="3632" y="5586"/>
                  </a:lnTo>
                  <a:lnTo>
                    <a:pt x="3632" y="4788"/>
                  </a:lnTo>
                  <a:lnTo>
                    <a:pt x="4105" y="4389"/>
                  </a:lnTo>
                  <a:lnTo>
                    <a:pt x="5921" y="4015"/>
                  </a:lnTo>
                  <a:lnTo>
                    <a:pt x="5921" y="3192"/>
                  </a:lnTo>
                  <a:lnTo>
                    <a:pt x="6369" y="2818"/>
                  </a:lnTo>
                  <a:lnTo>
                    <a:pt x="6369" y="2394"/>
                  </a:lnTo>
                  <a:lnTo>
                    <a:pt x="6815" y="2394"/>
                  </a:lnTo>
                  <a:lnTo>
                    <a:pt x="7290" y="1621"/>
                  </a:lnTo>
                  <a:lnTo>
                    <a:pt x="7290" y="798"/>
                  </a:lnTo>
                  <a:lnTo>
                    <a:pt x="8186" y="424"/>
                  </a:lnTo>
                  <a:lnTo>
                    <a:pt x="9107" y="0"/>
                  </a:lnTo>
                  <a:lnTo>
                    <a:pt x="9554" y="0"/>
                  </a:lnTo>
                  <a:cubicBezTo>
                    <a:pt x="9570" y="225"/>
                    <a:pt x="9058" y="575"/>
                    <a:pt x="9074" y="800"/>
                  </a:cubicBezTo>
                  <a:cubicBezTo>
                    <a:pt x="9058" y="1115"/>
                    <a:pt x="9570" y="1306"/>
                    <a:pt x="9554" y="1621"/>
                  </a:cubicBezTo>
                  <a:lnTo>
                    <a:pt x="9107" y="1995"/>
                  </a:lnTo>
                  <a:lnTo>
                    <a:pt x="9554" y="2394"/>
                  </a:lnTo>
                  <a:lnTo>
                    <a:pt x="10023" y="2850"/>
                  </a:lnTo>
                  <a:cubicBezTo>
                    <a:pt x="10123" y="3101"/>
                    <a:pt x="10385" y="2944"/>
                    <a:pt x="10381" y="3200"/>
                  </a:cubicBezTo>
                  <a:cubicBezTo>
                    <a:pt x="10377" y="3456"/>
                    <a:pt x="10403" y="3909"/>
                    <a:pt x="10000" y="4389"/>
                  </a:cubicBezTo>
                  <a:lnTo>
                    <a:pt x="7738" y="6783"/>
                  </a:lnTo>
                  <a:lnTo>
                    <a:pt x="6815" y="7182"/>
                  </a:lnTo>
                  <a:lnTo>
                    <a:pt x="6369" y="6783"/>
                  </a:lnTo>
                  <a:lnTo>
                    <a:pt x="5921" y="7182"/>
                  </a:lnTo>
                  <a:lnTo>
                    <a:pt x="5921" y="7980"/>
                  </a:lnTo>
                  <a:lnTo>
                    <a:pt x="6369" y="7980"/>
                  </a:lnTo>
                  <a:lnTo>
                    <a:pt x="6369" y="8379"/>
                  </a:lnTo>
                  <a:lnTo>
                    <a:pt x="6815" y="8379"/>
                  </a:lnTo>
                  <a:lnTo>
                    <a:pt x="6815" y="9177"/>
                  </a:lnTo>
                  <a:lnTo>
                    <a:pt x="6815" y="9576"/>
                  </a:lnTo>
                  <a:lnTo>
                    <a:pt x="5448" y="9576"/>
                  </a:lnTo>
                  <a:lnTo>
                    <a:pt x="5002" y="10000"/>
                  </a:lnTo>
                  <a:lnTo>
                    <a:pt x="4553" y="9576"/>
                  </a:lnTo>
                  <a:lnTo>
                    <a:pt x="4105" y="8803"/>
                  </a:lnTo>
                  <a:lnTo>
                    <a:pt x="2736" y="8803"/>
                  </a:lnTo>
                  <a:lnTo>
                    <a:pt x="1817" y="8803"/>
                  </a:lnTo>
                  <a:lnTo>
                    <a:pt x="448" y="880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1" name="Line 192">
              <a:extLst>
                <a:ext uri="{FF2B5EF4-FFF2-40B4-BE49-F238E27FC236}">
                  <a16:creationId xmlns:a16="http://schemas.microsoft.com/office/drawing/2014/main" id="{A0728F8F-FD52-4B8C-9163-A677B63362D5}"/>
                </a:ext>
              </a:extLst>
            </p:cNvPr>
            <p:cNvSpPr>
              <a:spLocks noChangeShapeType="1"/>
            </p:cNvSpPr>
            <p:nvPr>
              <p:custDataLst>
                <p:tags r:id="rId192"/>
              </p:custDataLst>
            </p:nvPr>
          </p:nvSpPr>
          <p:spPr bwMode="auto">
            <a:xfrm>
              <a:off x="5886449" y="4408488"/>
              <a:ext cx="12700" cy="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2" name="Freeform 193">
              <a:extLst>
                <a:ext uri="{FF2B5EF4-FFF2-40B4-BE49-F238E27FC236}">
                  <a16:creationId xmlns:a16="http://schemas.microsoft.com/office/drawing/2014/main" id="{F7EA6901-51B6-47CC-B589-42C43BBE4D87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672137" y="3767138"/>
              <a:ext cx="412750" cy="355600"/>
            </a:xfrm>
            <a:custGeom>
              <a:avLst/>
              <a:gdLst>
                <a:gd name="T0" fmla="*/ 96044 w 520"/>
                <a:gd name="T1" fmla="*/ 88702 h 449"/>
                <a:gd name="T2" fmla="*/ 96044 w 520"/>
                <a:gd name="T3" fmla="*/ 88702 h 449"/>
                <a:gd name="T4" fmla="*/ 72231 w 520"/>
                <a:gd name="T5" fmla="*/ 85534 h 449"/>
                <a:gd name="T6" fmla="*/ 68262 w 520"/>
                <a:gd name="T7" fmla="*/ 79198 h 449"/>
                <a:gd name="T8" fmla="*/ 57944 w 520"/>
                <a:gd name="T9" fmla="*/ 82366 h 449"/>
                <a:gd name="T10" fmla="*/ 51594 w 520"/>
                <a:gd name="T11" fmla="*/ 82366 h 449"/>
                <a:gd name="T12" fmla="*/ 40481 w 520"/>
                <a:gd name="T13" fmla="*/ 72862 h 449"/>
                <a:gd name="T14" fmla="*/ 34131 w 520"/>
                <a:gd name="T15" fmla="*/ 63359 h 449"/>
                <a:gd name="T16" fmla="*/ 26987 w 520"/>
                <a:gd name="T17" fmla="*/ 60191 h 449"/>
                <a:gd name="T18" fmla="*/ 23812 w 520"/>
                <a:gd name="T19" fmla="*/ 60191 h 449"/>
                <a:gd name="T20" fmla="*/ 19844 w 520"/>
                <a:gd name="T21" fmla="*/ 57023 h 449"/>
                <a:gd name="T22" fmla="*/ 16669 w 520"/>
                <a:gd name="T23" fmla="*/ 47519 h 449"/>
                <a:gd name="T24" fmla="*/ 10319 w 520"/>
                <a:gd name="T25" fmla="*/ 44351 h 449"/>
                <a:gd name="T26" fmla="*/ 6350 w 520"/>
                <a:gd name="T27" fmla="*/ 38015 h 449"/>
                <a:gd name="T28" fmla="*/ 10319 w 520"/>
                <a:gd name="T29" fmla="*/ 31679 h 449"/>
                <a:gd name="T30" fmla="*/ 10319 w 520"/>
                <a:gd name="T31" fmla="*/ 25343 h 449"/>
                <a:gd name="T32" fmla="*/ 6350 w 520"/>
                <a:gd name="T33" fmla="*/ 25343 h 449"/>
                <a:gd name="T34" fmla="*/ 3175 w 520"/>
                <a:gd name="T35" fmla="*/ 19008 h 449"/>
                <a:gd name="T36" fmla="*/ 0 w 520"/>
                <a:gd name="T37" fmla="*/ 3168 h 449"/>
                <a:gd name="T38" fmla="*/ 3175 w 520"/>
                <a:gd name="T39" fmla="*/ 0 h 449"/>
                <a:gd name="T40" fmla="*/ 6350 w 520"/>
                <a:gd name="T41" fmla="*/ 6336 h 449"/>
                <a:gd name="T42" fmla="*/ 10319 w 520"/>
                <a:gd name="T43" fmla="*/ 6336 h 449"/>
                <a:gd name="T44" fmla="*/ 13494 w 520"/>
                <a:gd name="T45" fmla="*/ 6336 h 449"/>
                <a:gd name="T46" fmla="*/ 19844 w 520"/>
                <a:gd name="T47" fmla="*/ 3168 h 449"/>
                <a:gd name="T48" fmla="*/ 23812 w 520"/>
                <a:gd name="T49" fmla="*/ 3168 h 449"/>
                <a:gd name="T50" fmla="*/ 19844 w 520"/>
                <a:gd name="T51" fmla="*/ 6336 h 449"/>
                <a:gd name="T52" fmla="*/ 26987 w 520"/>
                <a:gd name="T53" fmla="*/ 9504 h 449"/>
                <a:gd name="T54" fmla="*/ 26987 w 520"/>
                <a:gd name="T55" fmla="*/ 15840 h 449"/>
                <a:gd name="T56" fmla="*/ 40481 w 520"/>
                <a:gd name="T57" fmla="*/ 22176 h 449"/>
                <a:gd name="T58" fmla="*/ 54769 w 520"/>
                <a:gd name="T59" fmla="*/ 22176 h 449"/>
                <a:gd name="T60" fmla="*/ 54769 w 520"/>
                <a:gd name="T61" fmla="*/ 15840 h 449"/>
                <a:gd name="T62" fmla="*/ 61119 w 520"/>
                <a:gd name="T63" fmla="*/ 12672 h 449"/>
                <a:gd name="T64" fmla="*/ 72231 w 520"/>
                <a:gd name="T65" fmla="*/ 12672 h 449"/>
                <a:gd name="T66" fmla="*/ 92869 w 520"/>
                <a:gd name="T67" fmla="*/ 22176 h 449"/>
                <a:gd name="T68" fmla="*/ 92869 w 520"/>
                <a:gd name="T69" fmla="*/ 25343 h 449"/>
                <a:gd name="T70" fmla="*/ 92869 w 520"/>
                <a:gd name="T71" fmla="*/ 28511 h 449"/>
                <a:gd name="T72" fmla="*/ 92869 w 520"/>
                <a:gd name="T73" fmla="*/ 31679 h 449"/>
                <a:gd name="T74" fmla="*/ 88900 w 520"/>
                <a:gd name="T75" fmla="*/ 38015 h 449"/>
                <a:gd name="T76" fmla="*/ 88900 w 520"/>
                <a:gd name="T77" fmla="*/ 50687 h 449"/>
                <a:gd name="T78" fmla="*/ 96044 w 520"/>
                <a:gd name="T79" fmla="*/ 53855 h 449"/>
                <a:gd name="T80" fmla="*/ 96044 w 520"/>
                <a:gd name="T81" fmla="*/ 57023 h 449"/>
                <a:gd name="T82" fmla="*/ 92869 w 520"/>
                <a:gd name="T83" fmla="*/ 63359 h 449"/>
                <a:gd name="T84" fmla="*/ 96044 w 520"/>
                <a:gd name="T85" fmla="*/ 69694 h 449"/>
                <a:gd name="T86" fmla="*/ 99219 w 520"/>
                <a:gd name="T87" fmla="*/ 72862 h 449"/>
                <a:gd name="T88" fmla="*/ 103188 w 520"/>
                <a:gd name="T89" fmla="*/ 79198 h 449"/>
                <a:gd name="T90" fmla="*/ 96044 w 520"/>
                <a:gd name="T91" fmla="*/ 82366 h 449"/>
                <a:gd name="T92" fmla="*/ 96044 w 520"/>
                <a:gd name="T93" fmla="*/ 88702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0"/>
                <a:gd name="T142" fmla="*/ 0 h 449"/>
                <a:gd name="T143" fmla="*/ 520 w 520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0" h="449">
                  <a:moveTo>
                    <a:pt x="485" y="449"/>
                  </a:moveTo>
                  <a:lnTo>
                    <a:pt x="485" y="449"/>
                  </a:lnTo>
                  <a:lnTo>
                    <a:pt x="364" y="432"/>
                  </a:lnTo>
                  <a:lnTo>
                    <a:pt x="345" y="401"/>
                  </a:lnTo>
                  <a:lnTo>
                    <a:pt x="293" y="416"/>
                  </a:lnTo>
                  <a:lnTo>
                    <a:pt x="259" y="416"/>
                  </a:lnTo>
                  <a:lnTo>
                    <a:pt x="207" y="368"/>
                  </a:lnTo>
                  <a:lnTo>
                    <a:pt x="172" y="320"/>
                  </a:lnTo>
                  <a:lnTo>
                    <a:pt x="138" y="305"/>
                  </a:lnTo>
                  <a:lnTo>
                    <a:pt x="121" y="305"/>
                  </a:lnTo>
                  <a:lnTo>
                    <a:pt x="103" y="288"/>
                  </a:lnTo>
                  <a:lnTo>
                    <a:pt x="86" y="240"/>
                  </a:lnTo>
                  <a:lnTo>
                    <a:pt x="52" y="224"/>
                  </a:lnTo>
                  <a:lnTo>
                    <a:pt x="34" y="192"/>
                  </a:lnTo>
                  <a:lnTo>
                    <a:pt x="52" y="161"/>
                  </a:lnTo>
                  <a:lnTo>
                    <a:pt x="52" y="128"/>
                  </a:lnTo>
                  <a:lnTo>
                    <a:pt x="34" y="128"/>
                  </a:lnTo>
                  <a:lnTo>
                    <a:pt x="17" y="96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33"/>
                  </a:lnTo>
                  <a:lnTo>
                    <a:pt x="52" y="33"/>
                  </a:lnTo>
                  <a:lnTo>
                    <a:pt x="69" y="33"/>
                  </a:lnTo>
                  <a:lnTo>
                    <a:pt x="103" y="17"/>
                  </a:lnTo>
                  <a:lnTo>
                    <a:pt x="121" y="17"/>
                  </a:lnTo>
                  <a:lnTo>
                    <a:pt x="103" y="33"/>
                  </a:lnTo>
                  <a:lnTo>
                    <a:pt x="138" y="48"/>
                  </a:lnTo>
                  <a:lnTo>
                    <a:pt x="138" y="80"/>
                  </a:lnTo>
                  <a:lnTo>
                    <a:pt x="207" y="113"/>
                  </a:lnTo>
                  <a:lnTo>
                    <a:pt x="276" y="113"/>
                  </a:lnTo>
                  <a:lnTo>
                    <a:pt x="276" y="80"/>
                  </a:lnTo>
                  <a:lnTo>
                    <a:pt x="311" y="65"/>
                  </a:lnTo>
                  <a:lnTo>
                    <a:pt x="364" y="65"/>
                  </a:lnTo>
                  <a:lnTo>
                    <a:pt x="468" y="113"/>
                  </a:lnTo>
                  <a:lnTo>
                    <a:pt x="468" y="128"/>
                  </a:lnTo>
                  <a:lnTo>
                    <a:pt x="468" y="144"/>
                  </a:lnTo>
                  <a:lnTo>
                    <a:pt x="468" y="161"/>
                  </a:lnTo>
                  <a:lnTo>
                    <a:pt x="451" y="192"/>
                  </a:lnTo>
                  <a:lnTo>
                    <a:pt x="451" y="257"/>
                  </a:lnTo>
                  <a:lnTo>
                    <a:pt x="485" y="272"/>
                  </a:lnTo>
                  <a:lnTo>
                    <a:pt x="485" y="288"/>
                  </a:lnTo>
                  <a:lnTo>
                    <a:pt x="468" y="320"/>
                  </a:lnTo>
                  <a:lnTo>
                    <a:pt x="485" y="353"/>
                  </a:lnTo>
                  <a:lnTo>
                    <a:pt x="503" y="368"/>
                  </a:lnTo>
                  <a:lnTo>
                    <a:pt x="520" y="401"/>
                  </a:lnTo>
                  <a:lnTo>
                    <a:pt x="485" y="416"/>
                  </a:lnTo>
                  <a:lnTo>
                    <a:pt x="485" y="44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3" name="Freeform 194">
              <a:extLst>
                <a:ext uri="{FF2B5EF4-FFF2-40B4-BE49-F238E27FC236}">
                  <a16:creationId xmlns:a16="http://schemas.microsoft.com/office/drawing/2014/main" id="{79A38F60-DBA6-46EB-AA7D-B10283FB9314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575299" y="3678238"/>
              <a:ext cx="152400" cy="50800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4" name="Freeform 195">
              <a:extLst>
                <a:ext uri="{FF2B5EF4-FFF2-40B4-BE49-F238E27FC236}">
                  <a16:creationId xmlns:a16="http://schemas.microsoft.com/office/drawing/2014/main" id="{B5491CE2-0292-411E-9364-393191BA686A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659437" y="3729038"/>
              <a:ext cx="68263" cy="63500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12543 h 81"/>
                <a:gd name="T6" fmla="*/ 13339 w 87"/>
                <a:gd name="T7" fmla="*/ 9407 h 81"/>
                <a:gd name="T8" fmla="*/ 13339 w 87"/>
                <a:gd name="T9" fmla="*/ 6272 h 81"/>
                <a:gd name="T10" fmla="*/ 6277 w 87"/>
                <a:gd name="T11" fmla="*/ 0 h 81"/>
                <a:gd name="T12" fmla="*/ 0 w 87"/>
                <a:gd name="T13" fmla="*/ 0 h 81"/>
                <a:gd name="T14" fmla="*/ 3139 w 87"/>
                <a:gd name="T15" fmla="*/ 9407 h 81"/>
                <a:gd name="T16" fmla="*/ 6277 w 87"/>
                <a:gd name="T17" fmla="*/ 9407 h 81"/>
                <a:gd name="T18" fmla="*/ 13339 w 87"/>
                <a:gd name="T19" fmla="*/ 12543 h 81"/>
                <a:gd name="T20" fmla="*/ 13339 w 87"/>
                <a:gd name="T21" fmla="*/ 15679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5" name="Freeform 196">
              <a:extLst>
                <a:ext uri="{FF2B5EF4-FFF2-40B4-BE49-F238E27FC236}">
                  <a16:creationId xmlns:a16="http://schemas.microsoft.com/office/drawing/2014/main" id="{A37C429B-D23A-4D76-8A6E-EE6BF6730E06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686424" y="3716338"/>
              <a:ext cx="125413" cy="88900"/>
            </a:xfrm>
            <a:custGeom>
              <a:avLst/>
              <a:gdLst>
                <a:gd name="T0" fmla="*/ 10385 w 157"/>
                <a:gd name="T1" fmla="*/ 19222 h 111"/>
                <a:gd name="T2" fmla="*/ 10385 w 157"/>
                <a:gd name="T3" fmla="*/ 19222 h 111"/>
                <a:gd name="T4" fmla="*/ 17574 w 157"/>
                <a:gd name="T5" fmla="*/ 16018 h 111"/>
                <a:gd name="T6" fmla="*/ 20769 w 157"/>
                <a:gd name="T7" fmla="*/ 16018 h 111"/>
                <a:gd name="T8" fmla="*/ 17574 w 157"/>
                <a:gd name="T9" fmla="*/ 19222 h 111"/>
                <a:gd name="T10" fmla="*/ 24763 w 157"/>
                <a:gd name="T11" fmla="*/ 22425 h 111"/>
                <a:gd name="T12" fmla="*/ 20769 w 157"/>
                <a:gd name="T13" fmla="*/ 19222 h 111"/>
                <a:gd name="T14" fmla="*/ 24763 w 157"/>
                <a:gd name="T15" fmla="*/ 19222 h 111"/>
                <a:gd name="T16" fmla="*/ 24763 w 157"/>
                <a:gd name="T17" fmla="*/ 12814 h 111"/>
                <a:gd name="T18" fmla="*/ 31952 w 157"/>
                <a:gd name="T19" fmla="*/ 9611 h 111"/>
                <a:gd name="T20" fmla="*/ 24763 w 157"/>
                <a:gd name="T21" fmla="*/ 6407 h 111"/>
                <a:gd name="T22" fmla="*/ 20769 w 157"/>
                <a:gd name="T23" fmla="*/ 0 h 111"/>
                <a:gd name="T24" fmla="*/ 17574 w 157"/>
                <a:gd name="T25" fmla="*/ 3204 h 111"/>
                <a:gd name="T26" fmla="*/ 14379 w 157"/>
                <a:gd name="T27" fmla="*/ 3204 h 111"/>
                <a:gd name="T28" fmla="*/ 10385 w 157"/>
                <a:gd name="T29" fmla="*/ 0 h 111"/>
                <a:gd name="T30" fmla="*/ 7189 w 157"/>
                <a:gd name="T31" fmla="*/ 0 h 111"/>
                <a:gd name="T32" fmla="*/ 10385 w 157"/>
                <a:gd name="T33" fmla="*/ 3204 h 111"/>
                <a:gd name="T34" fmla="*/ 3994 w 157"/>
                <a:gd name="T35" fmla="*/ 3204 h 111"/>
                <a:gd name="T36" fmla="*/ 0 w 157"/>
                <a:gd name="T37" fmla="*/ 3204 h 111"/>
                <a:gd name="T38" fmla="*/ 7189 w 157"/>
                <a:gd name="T39" fmla="*/ 9611 h 111"/>
                <a:gd name="T40" fmla="*/ 7189 w 157"/>
                <a:gd name="T41" fmla="*/ 12814 h 111"/>
                <a:gd name="T42" fmla="*/ 10385 w 157"/>
                <a:gd name="T43" fmla="*/ 16018 h 111"/>
                <a:gd name="T44" fmla="*/ 10385 w 157"/>
                <a:gd name="T45" fmla="*/ 19222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7"/>
                <a:gd name="T70" fmla="*/ 0 h 111"/>
                <a:gd name="T71" fmla="*/ 157 w 157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7" h="111">
                  <a:moveTo>
                    <a:pt x="52" y="96"/>
                  </a:moveTo>
                  <a:lnTo>
                    <a:pt x="52" y="96"/>
                  </a:lnTo>
                  <a:lnTo>
                    <a:pt x="86" y="80"/>
                  </a:lnTo>
                  <a:lnTo>
                    <a:pt x="104" y="80"/>
                  </a:lnTo>
                  <a:lnTo>
                    <a:pt x="86" y="96"/>
                  </a:lnTo>
                  <a:lnTo>
                    <a:pt x="121" y="111"/>
                  </a:lnTo>
                  <a:lnTo>
                    <a:pt x="104" y="96"/>
                  </a:lnTo>
                  <a:lnTo>
                    <a:pt x="121" y="96"/>
                  </a:lnTo>
                  <a:lnTo>
                    <a:pt x="121" y="63"/>
                  </a:lnTo>
                  <a:lnTo>
                    <a:pt x="157" y="48"/>
                  </a:lnTo>
                  <a:lnTo>
                    <a:pt x="121" y="32"/>
                  </a:lnTo>
                  <a:lnTo>
                    <a:pt x="104" y="0"/>
                  </a:lnTo>
                  <a:lnTo>
                    <a:pt x="86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17" y="15"/>
                  </a:lnTo>
                  <a:lnTo>
                    <a:pt x="0" y="15"/>
                  </a:lnTo>
                  <a:lnTo>
                    <a:pt x="35" y="48"/>
                  </a:lnTo>
                  <a:lnTo>
                    <a:pt x="35" y="63"/>
                  </a:lnTo>
                  <a:lnTo>
                    <a:pt x="52" y="80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6" name="Freeform 197">
              <a:extLst>
                <a:ext uri="{FF2B5EF4-FFF2-40B4-BE49-F238E27FC236}">
                  <a16:creationId xmlns:a16="http://schemas.microsoft.com/office/drawing/2014/main" id="{7731BB0B-54BA-4AFB-9076-066F63E7A1ED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5684837" y="4021138"/>
              <a:ext cx="41275" cy="25400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3079 h 33"/>
                <a:gd name="T8" fmla="*/ 3969 w 52"/>
                <a:gd name="T9" fmla="*/ 6158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16"/>
                  </a:lnTo>
                  <a:lnTo>
                    <a:pt x="17" y="33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7" name="Freeform 198">
              <a:extLst>
                <a:ext uri="{FF2B5EF4-FFF2-40B4-BE49-F238E27FC236}">
                  <a16:creationId xmlns:a16="http://schemas.microsoft.com/office/drawing/2014/main" id="{FFF7D14B-DBCD-4ADB-87AC-B75B369AF899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5467349" y="3957638"/>
              <a:ext cx="479425" cy="406400"/>
            </a:xfrm>
            <a:custGeom>
              <a:avLst/>
              <a:gdLst>
                <a:gd name="T0" fmla="*/ 99219 w 604"/>
                <a:gd name="T1" fmla="*/ 82550 h 512"/>
                <a:gd name="T2" fmla="*/ 99219 w 604"/>
                <a:gd name="T3" fmla="*/ 82550 h 512"/>
                <a:gd name="T4" fmla="*/ 103188 w 604"/>
                <a:gd name="T5" fmla="*/ 79375 h 512"/>
                <a:gd name="T6" fmla="*/ 106363 w 604"/>
                <a:gd name="T7" fmla="*/ 76200 h 512"/>
                <a:gd name="T8" fmla="*/ 109538 w 604"/>
                <a:gd name="T9" fmla="*/ 73025 h 512"/>
                <a:gd name="T10" fmla="*/ 113506 w 604"/>
                <a:gd name="T11" fmla="*/ 69850 h 512"/>
                <a:gd name="T12" fmla="*/ 116681 w 604"/>
                <a:gd name="T13" fmla="*/ 66675 h 512"/>
                <a:gd name="T14" fmla="*/ 119856 w 604"/>
                <a:gd name="T15" fmla="*/ 66675 h 512"/>
                <a:gd name="T16" fmla="*/ 119856 w 604"/>
                <a:gd name="T17" fmla="*/ 63500 h 512"/>
                <a:gd name="T18" fmla="*/ 119856 w 604"/>
                <a:gd name="T19" fmla="*/ 60325 h 512"/>
                <a:gd name="T20" fmla="*/ 119856 w 604"/>
                <a:gd name="T21" fmla="*/ 57150 h 512"/>
                <a:gd name="T22" fmla="*/ 116681 w 604"/>
                <a:gd name="T23" fmla="*/ 53975 h 512"/>
                <a:gd name="T24" fmla="*/ 113506 w 604"/>
                <a:gd name="T25" fmla="*/ 50800 h 512"/>
                <a:gd name="T26" fmla="*/ 109538 w 604"/>
                <a:gd name="T27" fmla="*/ 50800 h 512"/>
                <a:gd name="T28" fmla="*/ 106363 w 604"/>
                <a:gd name="T29" fmla="*/ 50800 h 512"/>
                <a:gd name="T30" fmla="*/ 106363 w 604"/>
                <a:gd name="T31" fmla="*/ 53975 h 512"/>
                <a:gd name="T32" fmla="*/ 103188 w 604"/>
                <a:gd name="T33" fmla="*/ 53975 h 512"/>
                <a:gd name="T34" fmla="*/ 99219 w 604"/>
                <a:gd name="T35" fmla="*/ 53975 h 512"/>
                <a:gd name="T36" fmla="*/ 95250 w 604"/>
                <a:gd name="T37" fmla="*/ 53975 h 512"/>
                <a:gd name="T38" fmla="*/ 92075 w 604"/>
                <a:gd name="T39" fmla="*/ 53975 h 512"/>
                <a:gd name="T40" fmla="*/ 88900 w 604"/>
                <a:gd name="T41" fmla="*/ 53975 h 512"/>
                <a:gd name="T42" fmla="*/ 84931 w 604"/>
                <a:gd name="T43" fmla="*/ 50800 h 512"/>
                <a:gd name="T44" fmla="*/ 88900 w 604"/>
                <a:gd name="T45" fmla="*/ 47625 h 512"/>
                <a:gd name="T46" fmla="*/ 84931 w 604"/>
                <a:gd name="T47" fmla="*/ 41275 h 512"/>
                <a:gd name="T48" fmla="*/ 84931 w 604"/>
                <a:gd name="T49" fmla="*/ 31750 h 512"/>
                <a:gd name="T50" fmla="*/ 75406 w 604"/>
                <a:gd name="T51" fmla="*/ 22225 h 512"/>
                <a:gd name="T52" fmla="*/ 65087 w 604"/>
                <a:gd name="T53" fmla="*/ 19050 h 512"/>
                <a:gd name="T54" fmla="*/ 58738 w 604"/>
                <a:gd name="T55" fmla="*/ 22225 h 512"/>
                <a:gd name="T56" fmla="*/ 54769 w 604"/>
                <a:gd name="T57" fmla="*/ 19050 h 512"/>
                <a:gd name="T58" fmla="*/ 47625 w 604"/>
                <a:gd name="T59" fmla="*/ 15875 h 512"/>
                <a:gd name="T60" fmla="*/ 47625 w 604"/>
                <a:gd name="T61" fmla="*/ 12700 h 512"/>
                <a:gd name="T62" fmla="*/ 44450 w 604"/>
                <a:gd name="T63" fmla="*/ 9525 h 512"/>
                <a:gd name="T64" fmla="*/ 34131 w 604"/>
                <a:gd name="T65" fmla="*/ 3175 h 512"/>
                <a:gd name="T66" fmla="*/ 23812 w 604"/>
                <a:gd name="T67" fmla="*/ 0 h 512"/>
                <a:gd name="T68" fmla="*/ 14288 w 604"/>
                <a:gd name="T69" fmla="*/ 6350 h 512"/>
                <a:gd name="T70" fmla="*/ 16669 w 604"/>
                <a:gd name="T71" fmla="*/ 9525 h 512"/>
                <a:gd name="T72" fmla="*/ 14288 w 604"/>
                <a:gd name="T73" fmla="*/ 15875 h 512"/>
                <a:gd name="T74" fmla="*/ 9525 w 604"/>
                <a:gd name="T75" fmla="*/ 15875 h 512"/>
                <a:gd name="T76" fmla="*/ 7144 w 604"/>
                <a:gd name="T77" fmla="*/ 19050 h 512"/>
                <a:gd name="T78" fmla="*/ 0 w 604"/>
                <a:gd name="T79" fmla="*/ 19050 h 512"/>
                <a:gd name="T80" fmla="*/ 0 w 604"/>
                <a:gd name="T81" fmla="*/ 25400 h 512"/>
                <a:gd name="T82" fmla="*/ 3969 w 604"/>
                <a:gd name="T83" fmla="*/ 25400 h 512"/>
                <a:gd name="T84" fmla="*/ 16669 w 604"/>
                <a:gd name="T85" fmla="*/ 44450 h 512"/>
                <a:gd name="T86" fmla="*/ 19844 w 604"/>
                <a:gd name="T87" fmla="*/ 47625 h 512"/>
                <a:gd name="T88" fmla="*/ 23812 w 604"/>
                <a:gd name="T89" fmla="*/ 53975 h 512"/>
                <a:gd name="T90" fmla="*/ 23812 w 604"/>
                <a:gd name="T91" fmla="*/ 63500 h 512"/>
                <a:gd name="T92" fmla="*/ 34131 w 604"/>
                <a:gd name="T93" fmla="*/ 69850 h 512"/>
                <a:gd name="T94" fmla="*/ 40481 w 604"/>
                <a:gd name="T95" fmla="*/ 85725 h 512"/>
                <a:gd name="T96" fmla="*/ 44450 w 604"/>
                <a:gd name="T97" fmla="*/ 88900 h 512"/>
                <a:gd name="T98" fmla="*/ 47625 w 604"/>
                <a:gd name="T99" fmla="*/ 85725 h 512"/>
                <a:gd name="T100" fmla="*/ 58738 w 604"/>
                <a:gd name="T101" fmla="*/ 94456 h 512"/>
                <a:gd name="T102" fmla="*/ 61119 w 604"/>
                <a:gd name="T103" fmla="*/ 101600 h 512"/>
                <a:gd name="T104" fmla="*/ 84931 w 604"/>
                <a:gd name="T105" fmla="*/ 85725 h 512"/>
                <a:gd name="T106" fmla="*/ 99219 w 604"/>
                <a:gd name="T107" fmla="*/ 82550 h 5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04"/>
                <a:gd name="T163" fmla="*/ 0 h 512"/>
                <a:gd name="T164" fmla="*/ 604 w 604"/>
                <a:gd name="T165" fmla="*/ 512 h 5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04" h="512">
                  <a:moveTo>
                    <a:pt x="501" y="416"/>
                  </a:moveTo>
                  <a:lnTo>
                    <a:pt x="501" y="416"/>
                  </a:lnTo>
                  <a:lnTo>
                    <a:pt x="518" y="401"/>
                  </a:lnTo>
                  <a:lnTo>
                    <a:pt x="535" y="384"/>
                  </a:lnTo>
                  <a:lnTo>
                    <a:pt x="552" y="368"/>
                  </a:lnTo>
                  <a:lnTo>
                    <a:pt x="570" y="353"/>
                  </a:lnTo>
                  <a:lnTo>
                    <a:pt x="587" y="336"/>
                  </a:lnTo>
                  <a:lnTo>
                    <a:pt x="604" y="336"/>
                  </a:lnTo>
                  <a:lnTo>
                    <a:pt x="604" y="320"/>
                  </a:lnTo>
                  <a:lnTo>
                    <a:pt x="604" y="305"/>
                  </a:lnTo>
                  <a:lnTo>
                    <a:pt x="604" y="288"/>
                  </a:lnTo>
                  <a:lnTo>
                    <a:pt x="587" y="272"/>
                  </a:lnTo>
                  <a:lnTo>
                    <a:pt x="570" y="257"/>
                  </a:lnTo>
                  <a:lnTo>
                    <a:pt x="552" y="257"/>
                  </a:lnTo>
                  <a:lnTo>
                    <a:pt x="535" y="257"/>
                  </a:lnTo>
                  <a:lnTo>
                    <a:pt x="535" y="272"/>
                  </a:lnTo>
                  <a:lnTo>
                    <a:pt x="518" y="272"/>
                  </a:lnTo>
                  <a:lnTo>
                    <a:pt x="501" y="272"/>
                  </a:lnTo>
                  <a:lnTo>
                    <a:pt x="483" y="272"/>
                  </a:lnTo>
                  <a:lnTo>
                    <a:pt x="466" y="272"/>
                  </a:lnTo>
                  <a:lnTo>
                    <a:pt x="449" y="272"/>
                  </a:lnTo>
                  <a:lnTo>
                    <a:pt x="431" y="257"/>
                  </a:lnTo>
                  <a:lnTo>
                    <a:pt x="449" y="240"/>
                  </a:lnTo>
                  <a:lnTo>
                    <a:pt x="431" y="209"/>
                  </a:lnTo>
                  <a:lnTo>
                    <a:pt x="431" y="161"/>
                  </a:lnTo>
                  <a:lnTo>
                    <a:pt x="380" y="113"/>
                  </a:lnTo>
                  <a:lnTo>
                    <a:pt x="328" y="96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41" y="80"/>
                  </a:lnTo>
                  <a:lnTo>
                    <a:pt x="241" y="65"/>
                  </a:lnTo>
                  <a:lnTo>
                    <a:pt x="224" y="48"/>
                  </a:lnTo>
                  <a:lnTo>
                    <a:pt x="172" y="17"/>
                  </a:lnTo>
                  <a:lnTo>
                    <a:pt x="120" y="0"/>
                  </a:lnTo>
                  <a:lnTo>
                    <a:pt x="69" y="32"/>
                  </a:lnTo>
                  <a:lnTo>
                    <a:pt x="86" y="48"/>
                  </a:lnTo>
                  <a:lnTo>
                    <a:pt x="69" y="80"/>
                  </a:lnTo>
                  <a:lnTo>
                    <a:pt x="51" y="80"/>
                  </a:lnTo>
                  <a:lnTo>
                    <a:pt x="34" y="96"/>
                  </a:lnTo>
                  <a:lnTo>
                    <a:pt x="0" y="96"/>
                  </a:lnTo>
                  <a:lnTo>
                    <a:pt x="0" y="128"/>
                  </a:lnTo>
                  <a:lnTo>
                    <a:pt x="17" y="128"/>
                  </a:lnTo>
                  <a:lnTo>
                    <a:pt x="86" y="224"/>
                  </a:lnTo>
                  <a:lnTo>
                    <a:pt x="103" y="240"/>
                  </a:lnTo>
                  <a:lnTo>
                    <a:pt x="120" y="272"/>
                  </a:lnTo>
                  <a:lnTo>
                    <a:pt x="120" y="320"/>
                  </a:lnTo>
                  <a:lnTo>
                    <a:pt x="172" y="353"/>
                  </a:lnTo>
                  <a:lnTo>
                    <a:pt x="207" y="432"/>
                  </a:lnTo>
                  <a:lnTo>
                    <a:pt x="224" y="449"/>
                  </a:lnTo>
                  <a:lnTo>
                    <a:pt x="241" y="432"/>
                  </a:lnTo>
                  <a:lnTo>
                    <a:pt x="293" y="479"/>
                  </a:lnTo>
                  <a:lnTo>
                    <a:pt x="311" y="512"/>
                  </a:lnTo>
                  <a:lnTo>
                    <a:pt x="431" y="432"/>
                  </a:lnTo>
                  <a:lnTo>
                    <a:pt x="501" y="4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8" name="Freeform 199">
              <a:extLst>
                <a:ext uri="{FF2B5EF4-FFF2-40B4-BE49-F238E27FC236}">
                  <a16:creationId xmlns:a16="http://schemas.microsoft.com/office/drawing/2014/main" id="{2EF1C058-DE21-43D7-9602-944990CB6C7C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810249" y="4110038"/>
              <a:ext cx="26988" cy="38100"/>
            </a:xfrm>
            <a:custGeom>
              <a:avLst/>
              <a:gdLst>
                <a:gd name="T0" fmla="*/ 3084 w 35"/>
                <a:gd name="T1" fmla="*/ 9525 h 48"/>
                <a:gd name="T2" fmla="*/ 3084 w 35"/>
                <a:gd name="T3" fmla="*/ 9525 h 48"/>
                <a:gd name="T4" fmla="*/ 0 w 35"/>
                <a:gd name="T5" fmla="*/ 3969 h 48"/>
                <a:gd name="T6" fmla="*/ 3084 w 35"/>
                <a:gd name="T7" fmla="*/ 0 h 48"/>
                <a:gd name="T8" fmla="*/ 6169 w 35"/>
                <a:gd name="T9" fmla="*/ 0 h 48"/>
                <a:gd name="T10" fmla="*/ 3084 w 35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8"/>
                <a:gd name="T20" fmla="*/ 35 w 3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8">
                  <a:moveTo>
                    <a:pt x="18" y="48"/>
                  </a:moveTo>
                  <a:lnTo>
                    <a:pt x="18" y="48"/>
                  </a:lnTo>
                  <a:lnTo>
                    <a:pt x="0" y="17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18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39" name="Freeform 200">
              <a:extLst>
                <a:ext uri="{FF2B5EF4-FFF2-40B4-BE49-F238E27FC236}">
                  <a16:creationId xmlns:a16="http://schemas.microsoft.com/office/drawing/2014/main" id="{DE09AE45-285A-45C0-A4AA-ADFEFD37FF99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864224" y="4135438"/>
              <a:ext cx="150813" cy="165100"/>
            </a:xfrm>
            <a:custGeom>
              <a:avLst/>
              <a:gdLst>
                <a:gd name="T0" fmla="*/ 0 w 190"/>
                <a:gd name="T1" fmla="*/ 41275 h 208"/>
                <a:gd name="T2" fmla="*/ 0 w 190"/>
                <a:gd name="T3" fmla="*/ 41275 h 208"/>
                <a:gd name="T4" fmla="*/ 9525 w 190"/>
                <a:gd name="T5" fmla="*/ 41275 h 208"/>
                <a:gd name="T6" fmla="*/ 14288 w 190"/>
                <a:gd name="T7" fmla="*/ 38100 h 208"/>
                <a:gd name="T8" fmla="*/ 17463 w 190"/>
                <a:gd name="T9" fmla="*/ 35719 h 208"/>
                <a:gd name="T10" fmla="*/ 23813 w 190"/>
                <a:gd name="T11" fmla="*/ 31750 h 208"/>
                <a:gd name="T12" fmla="*/ 27781 w 190"/>
                <a:gd name="T13" fmla="*/ 28575 h 208"/>
                <a:gd name="T14" fmla="*/ 27781 w 190"/>
                <a:gd name="T15" fmla="*/ 26194 h 208"/>
                <a:gd name="T16" fmla="*/ 34131 w 190"/>
                <a:gd name="T17" fmla="*/ 16669 h 208"/>
                <a:gd name="T18" fmla="*/ 38100 w 190"/>
                <a:gd name="T19" fmla="*/ 12700 h 208"/>
                <a:gd name="T20" fmla="*/ 30956 w 190"/>
                <a:gd name="T21" fmla="*/ 7144 h 208"/>
                <a:gd name="T22" fmla="*/ 23813 w 190"/>
                <a:gd name="T23" fmla="*/ 3175 h 208"/>
                <a:gd name="T24" fmla="*/ 19844 w 190"/>
                <a:gd name="T25" fmla="*/ 0 h 208"/>
                <a:gd name="T26" fmla="*/ 14288 w 190"/>
                <a:gd name="T27" fmla="*/ 7144 h 208"/>
                <a:gd name="T28" fmla="*/ 17463 w 190"/>
                <a:gd name="T29" fmla="*/ 9525 h 208"/>
                <a:gd name="T30" fmla="*/ 19844 w 190"/>
                <a:gd name="T31" fmla="*/ 12700 h 208"/>
                <a:gd name="T32" fmla="*/ 19844 w 190"/>
                <a:gd name="T33" fmla="*/ 16669 h 208"/>
                <a:gd name="T34" fmla="*/ 19844 w 190"/>
                <a:gd name="T35" fmla="*/ 19050 h 208"/>
                <a:gd name="T36" fmla="*/ 19844 w 190"/>
                <a:gd name="T37" fmla="*/ 22225 h 208"/>
                <a:gd name="T38" fmla="*/ 17463 w 190"/>
                <a:gd name="T39" fmla="*/ 22225 h 208"/>
                <a:gd name="T40" fmla="*/ 14288 w 190"/>
                <a:gd name="T41" fmla="*/ 26194 h 208"/>
                <a:gd name="T42" fmla="*/ 9525 w 190"/>
                <a:gd name="T43" fmla="*/ 28575 h 208"/>
                <a:gd name="T44" fmla="*/ 7144 w 190"/>
                <a:gd name="T45" fmla="*/ 31750 h 208"/>
                <a:gd name="T46" fmla="*/ 3969 w 190"/>
                <a:gd name="T47" fmla="*/ 35719 h 208"/>
                <a:gd name="T48" fmla="*/ 0 w 190"/>
                <a:gd name="T49" fmla="*/ 38100 h 208"/>
                <a:gd name="T50" fmla="*/ 0 w 190"/>
                <a:gd name="T51" fmla="*/ 41275 h 2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0"/>
                <a:gd name="T79" fmla="*/ 0 h 208"/>
                <a:gd name="T80" fmla="*/ 190 w 190"/>
                <a:gd name="T81" fmla="*/ 208 h 2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0" h="208">
                  <a:moveTo>
                    <a:pt x="0" y="208"/>
                  </a:moveTo>
                  <a:lnTo>
                    <a:pt x="0" y="208"/>
                  </a:lnTo>
                  <a:lnTo>
                    <a:pt x="51" y="208"/>
                  </a:lnTo>
                  <a:lnTo>
                    <a:pt x="69" y="192"/>
                  </a:lnTo>
                  <a:lnTo>
                    <a:pt x="86" y="177"/>
                  </a:lnTo>
                  <a:lnTo>
                    <a:pt x="121" y="160"/>
                  </a:lnTo>
                  <a:lnTo>
                    <a:pt x="138" y="144"/>
                  </a:lnTo>
                  <a:lnTo>
                    <a:pt x="138" y="129"/>
                  </a:lnTo>
                  <a:lnTo>
                    <a:pt x="172" y="81"/>
                  </a:lnTo>
                  <a:lnTo>
                    <a:pt x="190" y="64"/>
                  </a:lnTo>
                  <a:lnTo>
                    <a:pt x="155" y="33"/>
                  </a:lnTo>
                  <a:lnTo>
                    <a:pt x="121" y="16"/>
                  </a:lnTo>
                  <a:lnTo>
                    <a:pt x="103" y="0"/>
                  </a:lnTo>
                  <a:lnTo>
                    <a:pt x="69" y="33"/>
                  </a:lnTo>
                  <a:lnTo>
                    <a:pt x="86" y="48"/>
                  </a:lnTo>
                  <a:lnTo>
                    <a:pt x="103" y="64"/>
                  </a:lnTo>
                  <a:lnTo>
                    <a:pt x="103" y="81"/>
                  </a:lnTo>
                  <a:lnTo>
                    <a:pt x="103" y="96"/>
                  </a:lnTo>
                  <a:lnTo>
                    <a:pt x="103" y="112"/>
                  </a:lnTo>
                  <a:lnTo>
                    <a:pt x="86" y="112"/>
                  </a:lnTo>
                  <a:lnTo>
                    <a:pt x="69" y="129"/>
                  </a:lnTo>
                  <a:lnTo>
                    <a:pt x="51" y="144"/>
                  </a:lnTo>
                  <a:lnTo>
                    <a:pt x="34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0" y="20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0" name="Freeform 201">
              <a:extLst>
                <a:ext uri="{FF2B5EF4-FFF2-40B4-BE49-F238E27FC236}">
                  <a16:creationId xmlns:a16="http://schemas.microsoft.com/office/drawing/2014/main" id="{0E32764B-C913-4C04-AFC5-D11C5148BDCD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029324" y="3805238"/>
              <a:ext cx="317500" cy="228600"/>
            </a:xfrm>
            <a:custGeom>
              <a:avLst/>
              <a:gdLst>
                <a:gd name="T0" fmla="*/ 76391 w 399"/>
                <a:gd name="T1" fmla="*/ 9525 h 288"/>
                <a:gd name="T2" fmla="*/ 76391 w 399"/>
                <a:gd name="T3" fmla="*/ 9525 h 288"/>
                <a:gd name="T4" fmla="*/ 73208 w 399"/>
                <a:gd name="T5" fmla="*/ 9525 h 288"/>
                <a:gd name="T6" fmla="*/ 66046 w 399"/>
                <a:gd name="T7" fmla="*/ 13494 h 288"/>
                <a:gd name="T8" fmla="*/ 58885 w 399"/>
                <a:gd name="T9" fmla="*/ 15875 h 288"/>
                <a:gd name="T10" fmla="*/ 58885 w 399"/>
                <a:gd name="T11" fmla="*/ 22225 h 288"/>
                <a:gd name="T12" fmla="*/ 55702 w 399"/>
                <a:gd name="T13" fmla="*/ 28575 h 288"/>
                <a:gd name="T14" fmla="*/ 52519 w 399"/>
                <a:gd name="T15" fmla="*/ 28575 h 288"/>
                <a:gd name="T16" fmla="*/ 52519 w 399"/>
                <a:gd name="T17" fmla="*/ 31750 h 288"/>
                <a:gd name="T18" fmla="*/ 48540 w 399"/>
                <a:gd name="T19" fmla="*/ 34925 h 288"/>
                <a:gd name="T20" fmla="*/ 48540 w 399"/>
                <a:gd name="T21" fmla="*/ 41275 h 288"/>
                <a:gd name="T22" fmla="*/ 35013 w 399"/>
                <a:gd name="T23" fmla="*/ 44450 h 288"/>
                <a:gd name="T24" fmla="*/ 31830 w 399"/>
                <a:gd name="T25" fmla="*/ 47625 h 288"/>
                <a:gd name="T26" fmla="*/ 31830 w 399"/>
                <a:gd name="T27" fmla="*/ 53975 h 288"/>
                <a:gd name="T28" fmla="*/ 11140 w 399"/>
                <a:gd name="T29" fmla="*/ 57150 h 288"/>
                <a:gd name="T30" fmla="*/ 3979 w 399"/>
                <a:gd name="T31" fmla="*/ 53975 h 288"/>
                <a:gd name="T32" fmla="*/ 7162 w 399"/>
                <a:gd name="T33" fmla="*/ 47625 h 288"/>
                <a:gd name="T34" fmla="*/ 7162 w 399"/>
                <a:gd name="T35" fmla="*/ 44450 h 288"/>
                <a:gd name="T36" fmla="*/ 0 w 399"/>
                <a:gd name="T37" fmla="*/ 41275 h 288"/>
                <a:gd name="T38" fmla="*/ 0 w 399"/>
                <a:gd name="T39" fmla="*/ 28575 h 288"/>
                <a:gd name="T40" fmla="*/ 3979 w 399"/>
                <a:gd name="T41" fmla="*/ 22225 h 288"/>
                <a:gd name="T42" fmla="*/ 3979 w 399"/>
                <a:gd name="T43" fmla="*/ 19050 h 288"/>
                <a:gd name="T44" fmla="*/ 14323 w 399"/>
                <a:gd name="T45" fmla="*/ 19050 h 288"/>
                <a:gd name="T46" fmla="*/ 14323 w 399"/>
                <a:gd name="T47" fmla="*/ 15875 h 288"/>
                <a:gd name="T48" fmla="*/ 21485 w 399"/>
                <a:gd name="T49" fmla="*/ 15875 h 288"/>
                <a:gd name="T50" fmla="*/ 24668 w 399"/>
                <a:gd name="T51" fmla="*/ 9525 h 288"/>
                <a:gd name="T52" fmla="*/ 27851 w 399"/>
                <a:gd name="T53" fmla="*/ 9525 h 288"/>
                <a:gd name="T54" fmla="*/ 27851 w 399"/>
                <a:gd name="T55" fmla="*/ 6350 h 288"/>
                <a:gd name="T56" fmla="*/ 42174 w 399"/>
                <a:gd name="T57" fmla="*/ 9525 h 288"/>
                <a:gd name="T58" fmla="*/ 48540 w 399"/>
                <a:gd name="T59" fmla="*/ 9525 h 288"/>
                <a:gd name="T60" fmla="*/ 48540 w 399"/>
                <a:gd name="T61" fmla="*/ 6350 h 288"/>
                <a:gd name="T62" fmla="*/ 52519 w 399"/>
                <a:gd name="T63" fmla="*/ 6350 h 288"/>
                <a:gd name="T64" fmla="*/ 55702 w 399"/>
                <a:gd name="T65" fmla="*/ 0 h 288"/>
                <a:gd name="T66" fmla="*/ 58885 w 399"/>
                <a:gd name="T67" fmla="*/ 3969 h 288"/>
                <a:gd name="T68" fmla="*/ 62863 w 399"/>
                <a:gd name="T69" fmla="*/ 13494 h 288"/>
                <a:gd name="T70" fmla="*/ 69229 w 399"/>
                <a:gd name="T71" fmla="*/ 6350 h 288"/>
                <a:gd name="T72" fmla="*/ 79574 w 399"/>
                <a:gd name="T73" fmla="*/ 9525 h 288"/>
                <a:gd name="T74" fmla="*/ 76391 w 399"/>
                <a:gd name="T75" fmla="*/ 9525 h 2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288"/>
                <a:gd name="T116" fmla="*/ 399 w 399"/>
                <a:gd name="T117" fmla="*/ 288 h 2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288">
                  <a:moveTo>
                    <a:pt x="382" y="48"/>
                  </a:moveTo>
                  <a:lnTo>
                    <a:pt x="382" y="48"/>
                  </a:lnTo>
                  <a:lnTo>
                    <a:pt x="365" y="48"/>
                  </a:lnTo>
                  <a:lnTo>
                    <a:pt x="330" y="65"/>
                  </a:lnTo>
                  <a:lnTo>
                    <a:pt x="296" y="80"/>
                  </a:lnTo>
                  <a:lnTo>
                    <a:pt x="296" y="113"/>
                  </a:lnTo>
                  <a:lnTo>
                    <a:pt x="278" y="144"/>
                  </a:lnTo>
                  <a:lnTo>
                    <a:pt x="261" y="144"/>
                  </a:lnTo>
                  <a:lnTo>
                    <a:pt x="261" y="161"/>
                  </a:lnTo>
                  <a:lnTo>
                    <a:pt x="244" y="176"/>
                  </a:lnTo>
                  <a:lnTo>
                    <a:pt x="244" y="209"/>
                  </a:lnTo>
                  <a:lnTo>
                    <a:pt x="175" y="224"/>
                  </a:lnTo>
                  <a:lnTo>
                    <a:pt x="157" y="240"/>
                  </a:lnTo>
                  <a:lnTo>
                    <a:pt x="157" y="272"/>
                  </a:lnTo>
                  <a:lnTo>
                    <a:pt x="54" y="288"/>
                  </a:lnTo>
                  <a:lnTo>
                    <a:pt x="19" y="272"/>
                  </a:lnTo>
                  <a:lnTo>
                    <a:pt x="36" y="240"/>
                  </a:lnTo>
                  <a:lnTo>
                    <a:pt x="36" y="224"/>
                  </a:lnTo>
                  <a:lnTo>
                    <a:pt x="0" y="209"/>
                  </a:lnTo>
                  <a:lnTo>
                    <a:pt x="0" y="144"/>
                  </a:lnTo>
                  <a:lnTo>
                    <a:pt x="19" y="113"/>
                  </a:lnTo>
                  <a:lnTo>
                    <a:pt x="19" y="96"/>
                  </a:lnTo>
                  <a:lnTo>
                    <a:pt x="71" y="96"/>
                  </a:lnTo>
                  <a:lnTo>
                    <a:pt x="71" y="80"/>
                  </a:lnTo>
                  <a:lnTo>
                    <a:pt x="105" y="80"/>
                  </a:lnTo>
                  <a:lnTo>
                    <a:pt x="123" y="48"/>
                  </a:lnTo>
                  <a:lnTo>
                    <a:pt x="140" y="48"/>
                  </a:lnTo>
                  <a:lnTo>
                    <a:pt x="140" y="32"/>
                  </a:lnTo>
                  <a:lnTo>
                    <a:pt x="209" y="48"/>
                  </a:lnTo>
                  <a:lnTo>
                    <a:pt x="244" y="48"/>
                  </a:lnTo>
                  <a:lnTo>
                    <a:pt x="244" y="32"/>
                  </a:lnTo>
                  <a:lnTo>
                    <a:pt x="261" y="32"/>
                  </a:lnTo>
                  <a:lnTo>
                    <a:pt x="278" y="0"/>
                  </a:lnTo>
                  <a:lnTo>
                    <a:pt x="296" y="17"/>
                  </a:lnTo>
                  <a:lnTo>
                    <a:pt x="313" y="65"/>
                  </a:lnTo>
                  <a:lnTo>
                    <a:pt x="347" y="32"/>
                  </a:lnTo>
                  <a:lnTo>
                    <a:pt x="399" y="48"/>
                  </a:lnTo>
                  <a:lnTo>
                    <a:pt x="382" y="4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1" name="Freeform 202">
              <a:extLst>
                <a:ext uri="{FF2B5EF4-FFF2-40B4-BE49-F238E27FC236}">
                  <a16:creationId xmlns:a16="http://schemas.microsoft.com/office/drawing/2014/main" id="{73F1E76D-17B5-4CC8-9F34-0F7BE9088802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575299" y="3678238"/>
              <a:ext cx="152400" cy="50800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2" name="Freeform 203">
              <a:extLst>
                <a:ext uri="{FF2B5EF4-FFF2-40B4-BE49-F238E27FC236}">
                  <a16:creationId xmlns:a16="http://schemas.microsoft.com/office/drawing/2014/main" id="{A8E8DCA6-813F-434F-8037-CB7A73D74722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272087" y="3716338"/>
              <a:ext cx="412750" cy="152400"/>
            </a:xfrm>
            <a:custGeom>
              <a:avLst/>
              <a:gdLst>
                <a:gd name="T0" fmla="*/ 103188 w 520"/>
                <a:gd name="T1" fmla="*/ 12766 h 191"/>
                <a:gd name="T2" fmla="*/ 103188 w 520"/>
                <a:gd name="T3" fmla="*/ 12766 h 191"/>
                <a:gd name="T4" fmla="*/ 99219 w 520"/>
                <a:gd name="T5" fmla="*/ 12766 h 191"/>
                <a:gd name="T6" fmla="*/ 96044 w 520"/>
                <a:gd name="T7" fmla="*/ 3192 h 191"/>
                <a:gd name="T8" fmla="*/ 85725 w 520"/>
                <a:gd name="T9" fmla="*/ 3192 h 191"/>
                <a:gd name="T10" fmla="*/ 75406 w 520"/>
                <a:gd name="T11" fmla="*/ 6383 h 191"/>
                <a:gd name="T12" fmla="*/ 61912 w 520"/>
                <a:gd name="T13" fmla="*/ 6383 h 191"/>
                <a:gd name="T14" fmla="*/ 51594 w 520"/>
                <a:gd name="T15" fmla="*/ 0 h 191"/>
                <a:gd name="T16" fmla="*/ 41275 w 520"/>
                <a:gd name="T17" fmla="*/ 0 h 191"/>
                <a:gd name="T18" fmla="*/ 30956 w 520"/>
                <a:gd name="T19" fmla="*/ 6383 h 191"/>
                <a:gd name="T20" fmla="*/ 23812 w 520"/>
                <a:gd name="T21" fmla="*/ 6383 h 191"/>
                <a:gd name="T22" fmla="*/ 17462 w 520"/>
                <a:gd name="T23" fmla="*/ 6383 h 191"/>
                <a:gd name="T24" fmla="*/ 13494 w 520"/>
                <a:gd name="T25" fmla="*/ 0 h 191"/>
                <a:gd name="T26" fmla="*/ 7144 w 520"/>
                <a:gd name="T27" fmla="*/ 0 h 191"/>
                <a:gd name="T28" fmla="*/ 3175 w 520"/>
                <a:gd name="T29" fmla="*/ 3192 h 191"/>
                <a:gd name="T30" fmla="*/ 0 w 520"/>
                <a:gd name="T31" fmla="*/ 9575 h 191"/>
                <a:gd name="T32" fmla="*/ 3175 w 520"/>
                <a:gd name="T33" fmla="*/ 9575 h 191"/>
                <a:gd name="T34" fmla="*/ 3175 w 520"/>
                <a:gd name="T35" fmla="*/ 12766 h 191"/>
                <a:gd name="T36" fmla="*/ 10319 w 520"/>
                <a:gd name="T37" fmla="*/ 6383 h 191"/>
                <a:gd name="T38" fmla="*/ 17462 w 520"/>
                <a:gd name="T39" fmla="*/ 6383 h 191"/>
                <a:gd name="T40" fmla="*/ 20637 w 520"/>
                <a:gd name="T41" fmla="*/ 9575 h 191"/>
                <a:gd name="T42" fmla="*/ 17462 w 520"/>
                <a:gd name="T43" fmla="*/ 9575 h 191"/>
                <a:gd name="T44" fmla="*/ 17462 w 520"/>
                <a:gd name="T45" fmla="*/ 12766 h 191"/>
                <a:gd name="T46" fmla="*/ 7144 w 520"/>
                <a:gd name="T47" fmla="*/ 12766 h 191"/>
                <a:gd name="T48" fmla="*/ 3175 w 520"/>
                <a:gd name="T49" fmla="*/ 12766 h 191"/>
                <a:gd name="T50" fmla="*/ 3175 w 520"/>
                <a:gd name="T51" fmla="*/ 19150 h 191"/>
                <a:gd name="T52" fmla="*/ 7144 w 520"/>
                <a:gd name="T53" fmla="*/ 15958 h 191"/>
                <a:gd name="T54" fmla="*/ 7144 w 520"/>
                <a:gd name="T55" fmla="*/ 22341 h 191"/>
                <a:gd name="T56" fmla="*/ 3175 w 520"/>
                <a:gd name="T57" fmla="*/ 22341 h 191"/>
                <a:gd name="T58" fmla="*/ 3175 w 520"/>
                <a:gd name="T59" fmla="*/ 25533 h 191"/>
                <a:gd name="T60" fmla="*/ 7144 w 520"/>
                <a:gd name="T61" fmla="*/ 25533 h 191"/>
                <a:gd name="T62" fmla="*/ 7144 w 520"/>
                <a:gd name="T63" fmla="*/ 28725 h 191"/>
                <a:gd name="T64" fmla="*/ 10319 w 520"/>
                <a:gd name="T65" fmla="*/ 31916 h 191"/>
                <a:gd name="T66" fmla="*/ 7144 w 520"/>
                <a:gd name="T67" fmla="*/ 31916 h 191"/>
                <a:gd name="T68" fmla="*/ 13494 w 520"/>
                <a:gd name="T69" fmla="*/ 31916 h 191"/>
                <a:gd name="T70" fmla="*/ 13494 w 520"/>
                <a:gd name="T71" fmla="*/ 35108 h 191"/>
                <a:gd name="T72" fmla="*/ 20637 w 520"/>
                <a:gd name="T73" fmla="*/ 38299 h 191"/>
                <a:gd name="T74" fmla="*/ 27781 w 520"/>
                <a:gd name="T75" fmla="*/ 35108 h 191"/>
                <a:gd name="T76" fmla="*/ 30956 w 520"/>
                <a:gd name="T77" fmla="*/ 35108 h 191"/>
                <a:gd name="T78" fmla="*/ 38100 w 520"/>
                <a:gd name="T79" fmla="*/ 38299 h 191"/>
                <a:gd name="T80" fmla="*/ 41275 w 520"/>
                <a:gd name="T81" fmla="*/ 38299 h 191"/>
                <a:gd name="T82" fmla="*/ 48419 w 520"/>
                <a:gd name="T83" fmla="*/ 35108 h 191"/>
                <a:gd name="T84" fmla="*/ 54769 w 520"/>
                <a:gd name="T85" fmla="*/ 35108 h 191"/>
                <a:gd name="T86" fmla="*/ 54769 w 520"/>
                <a:gd name="T87" fmla="*/ 31916 h 191"/>
                <a:gd name="T88" fmla="*/ 54769 w 520"/>
                <a:gd name="T89" fmla="*/ 38299 h 191"/>
                <a:gd name="T90" fmla="*/ 57944 w 520"/>
                <a:gd name="T91" fmla="*/ 38299 h 191"/>
                <a:gd name="T92" fmla="*/ 57944 w 520"/>
                <a:gd name="T93" fmla="*/ 35108 h 191"/>
                <a:gd name="T94" fmla="*/ 68262 w 520"/>
                <a:gd name="T95" fmla="*/ 31916 h 191"/>
                <a:gd name="T96" fmla="*/ 72231 w 520"/>
                <a:gd name="T97" fmla="*/ 35108 h 191"/>
                <a:gd name="T98" fmla="*/ 82550 w 520"/>
                <a:gd name="T99" fmla="*/ 31916 h 191"/>
                <a:gd name="T100" fmla="*/ 92869 w 520"/>
                <a:gd name="T101" fmla="*/ 31916 h 191"/>
                <a:gd name="T102" fmla="*/ 92869 w 520"/>
                <a:gd name="T103" fmla="*/ 28725 h 191"/>
                <a:gd name="T104" fmla="*/ 103188 w 520"/>
                <a:gd name="T105" fmla="*/ 31916 h 191"/>
                <a:gd name="T106" fmla="*/ 99219 w 520"/>
                <a:gd name="T107" fmla="*/ 15958 h 191"/>
                <a:gd name="T108" fmla="*/ 103188 w 520"/>
                <a:gd name="T109" fmla="*/ 12766 h 1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0"/>
                <a:gd name="T166" fmla="*/ 0 h 191"/>
                <a:gd name="T167" fmla="*/ 520 w 520"/>
                <a:gd name="T168" fmla="*/ 191 h 1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0" h="191">
                  <a:moveTo>
                    <a:pt x="520" y="63"/>
                  </a:moveTo>
                  <a:lnTo>
                    <a:pt x="520" y="63"/>
                  </a:lnTo>
                  <a:lnTo>
                    <a:pt x="503" y="63"/>
                  </a:lnTo>
                  <a:lnTo>
                    <a:pt x="485" y="15"/>
                  </a:lnTo>
                  <a:lnTo>
                    <a:pt x="434" y="15"/>
                  </a:lnTo>
                  <a:lnTo>
                    <a:pt x="382" y="32"/>
                  </a:lnTo>
                  <a:lnTo>
                    <a:pt x="313" y="32"/>
                  </a:lnTo>
                  <a:lnTo>
                    <a:pt x="261" y="0"/>
                  </a:lnTo>
                  <a:lnTo>
                    <a:pt x="209" y="0"/>
                  </a:lnTo>
                  <a:lnTo>
                    <a:pt x="157" y="32"/>
                  </a:lnTo>
                  <a:lnTo>
                    <a:pt x="123" y="32"/>
                  </a:lnTo>
                  <a:lnTo>
                    <a:pt x="88" y="32"/>
                  </a:lnTo>
                  <a:lnTo>
                    <a:pt x="71" y="0"/>
                  </a:lnTo>
                  <a:lnTo>
                    <a:pt x="36" y="0"/>
                  </a:lnTo>
                  <a:lnTo>
                    <a:pt x="19" y="15"/>
                  </a:lnTo>
                  <a:lnTo>
                    <a:pt x="0" y="48"/>
                  </a:lnTo>
                  <a:lnTo>
                    <a:pt x="19" y="48"/>
                  </a:lnTo>
                  <a:lnTo>
                    <a:pt x="19" y="63"/>
                  </a:lnTo>
                  <a:lnTo>
                    <a:pt x="54" y="32"/>
                  </a:lnTo>
                  <a:lnTo>
                    <a:pt x="88" y="32"/>
                  </a:lnTo>
                  <a:lnTo>
                    <a:pt x="105" y="48"/>
                  </a:lnTo>
                  <a:lnTo>
                    <a:pt x="88" y="48"/>
                  </a:lnTo>
                  <a:lnTo>
                    <a:pt x="88" y="63"/>
                  </a:lnTo>
                  <a:lnTo>
                    <a:pt x="36" y="63"/>
                  </a:lnTo>
                  <a:lnTo>
                    <a:pt x="19" y="63"/>
                  </a:lnTo>
                  <a:lnTo>
                    <a:pt x="19" y="96"/>
                  </a:lnTo>
                  <a:lnTo>
                    <a:pt x="36" y="80"/>
                  </a:lnTo>
                  <a:lnTo>
                    <a:pt x="36" y="111"/>
                  </a:lnTo>
                  <a:lnTo>
                    <a:pt x="19" y="111"/>
                  </a:lnTo>
                  <a:lnTo>
                    <a:pt x="19" y="128"/>
                  </a:lnTo>
                  <a:lnTo>
                    <a:pt x="36" y="128"/>
                  </a:lnTo>
                  <a:lnTo>
                    <a:pt x="36" y="143"/>
                  </a:lnTo>
                  <a:lnTo>
                    <a:pt x="54" y="159"/>
                  </a:lnTo>
                  <a:lnTo>
                    <a:pt x="36" y="159"/>
                  </a:lnTo>
                  <a:lnTo>
                    <a:pt x="71" y="159"/>
                  </a:lnTo>
                  <a:lnTo>
                    <a:pt x="71" y="176"/>
                  </a:lnTo>
                  <a:lnTo>
                    <a:pt x="105" y="191"/>
                  </a:lnTo>
                  <a:lnTo>
                    <a:pt x="140" y="176"/>
                  </a:lnTo>
                  <a:lnTo>
                    <a:pt x="157" y="176"/>
                  </a:lnTo>
                  <a:lnTo>
                    <a:pt x="192" y="191"/>
                  </a:lnTo>
                  <a:lnTo>
                    <a:pt x="209" y="191"/>
                  </a:lnTo>
                  <a:lnTo>
                    <a:pt x="244" y="176"/>
                  </a:lnTo>
                  <a:lnTo>
                    <a:pt x="278" y="176"/>
                  </a:lnTo>
                  <a:lnTo>
                    <a:pt x="278" y="159"/>
                  </a:lnTo>
                  <a:lnTo>
                    <a:pt x="278" y="191"/>
                  </a:lnTo>
                  <a:lnTo>
                    <a:pt x="295" y="191"/>
                  </a:lnTo>
                  <a:lnTo>
                    <a:pt x="295" y="176"/>
                  </a:lnTo>
                  <a:lnTo>
                    <a:pt x="347" y="159"/>
                  </a:lnTo>
                  <a:lnTo>
                    <a:pt x="365" y="176"/>
                  </a:lnTo>
                  <a:lnTo>
                    <a:pt x="416" y="159"/>
                  </a:lnTo>
                  <a:lnTo>
                    <a:pt x="468" y="159"/>
                  </a:lnTo>
                  <a:lnTo>
                    <a:pt x="468" y="143"/>
                  </a:lnTo>
                  <a:lnTo>
                    <a:pt x="520" y="159"/>
                  </a:lnTo>
                  <a:lnTo>
                    <a:pt x="503" y="80"/>
                  </a:lnTo>
                  <a:lnTo>
                    <a:pt x="520" y="6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3" name="Freeform 204">
              <a:extLst>
                <a:ext uri="{FF2B5EF4-FFF2-40B4-BE49-F238E27FC236}">
                  <a16:creationId xmlns:a16="http://schemas.microsoft.com/office/drawing/2014/main" id="{723DF58C-2989-4ECA-AE2A-F41DFB6C59FF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467349" y="3933826"/>
              <a:ext cx="93663" cy="100013"/>
            </a:xfrm>
            <a:custGeom>
              <a:avLst/>
              <a:gdLst>
                <a:gd name="T0" fmla="*/ 22825 w 119"/>
                <a:gd name="T1" fmla="*/ 5513 h 127"/>
                <a:gd name="T2" fmla="*/ 22825 w 119"/>
                <a:gd name="T3" fmla="*/ 5513 h 127"/>
                <a:gd name="T4" fmla="*/ 22825 w 119"/>
                <a:gd name="T5" fmla="*/ 0 h 127"/>
                <a:gd name="T6" fmla="*/ 19677 w 119"/>
                <a:gd name="T7" fmla="*/ 0 h 127"/>
                <a:gd name="T8" fmla="*/ 9445 w 119"/>
                <a:gd name="T9" fmla="*/ 5513 h 127"/>
                <a:gd name="T10" fmla="*/ 2361 w 119"/>
                <a:gd name="T11" fmla="*/ 5513 h 127"/>
                <a:gd name="T12" fmla="*/ 2361 w 119"/>
                <a:gd name="T13" fmla="*/ 9450 h 127"/>
                <a:gd name="T14" fmla="*/ 2361 w 119"/>
                <a:gd name="T15" fmla="*/ 14963 h 127"/>
                <a:gd name="T16" fmla="*/ 0 w 119"/>
                <a:gd name="T17" fmla="*/ 24413 h 127"/>
                <a:gd name="T18" fmla="*/ 6297 w 119"/>
                <a:gd name="T19" fmla="*/ 24413 h 127"/>
                <a:gd name="T20" fmla="*/ 9445 w 119"/>
                <a:gd name="T21" fmla="*/ 21263 h 127"/>
                <a:gd name="T22" fmla="*/ 12593 w 119"/>
                <a:gd name="T23" fmla="*/ 21263 h 127"/>
                <a:gd name="T24" fmla="*/ 16529 w 119"/>
                <a:gd name="T25" fmla="*/ 14963 h 127"/>
                <a:gd name="T26" fmla="*/ 12593 w 119"/>
                <a:gd name="T27" fmla="*/ 11813 h 127"/>
                <a:gd name="T28" fmla="*/ 22825 w 119"/>
                <a:gd name="T29" fmla="*/ 5513 h 1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9"/>
                <a:gd name="T46" fmla="*/ 0 h 127"/>
                <a:gd name="T47" fmla="*/ 119 w 119"/>
                <a:gd name="T48" fmla="*/ 127 h 1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9" h="127">
                  <a:moveTo>
                    <a:pt x="119" y="31"/>
                  </a:moveTo>
                  <a:lnTo>
                    <a:pt x="119" y="31"/>
                  </a:lnTo>
                  <a:lnTo>
                    <a:pt x="119" y="0"/>
                  </a:lnTo>
                  <a:lnTo>
                    <a:pt x="101" y="0"/>
                  </a:lnTo>
                  <a:lnTo>
                    <a:pt x="49" y="31"/>
                  </a:lnTo>
                  <a:lnTo>
                    <a:pt x="15" y="31"/>
                  </a:lnTo>
                  <a:lnTo>
                    <a:pt x="15" y="48"/>
                  </a:lnTo>
                  <a:lnTo>
                    <a:pt x="15" y="79"/>
                  </a:lnTo>
                  <a:lnTo>
                    <a:pt x="0" y="127"/>
                  </a:lnTo>
                  <a:lnTo>
                    <a:pt x="32" y="127"/>
                  </a:lnTo>
                  <a:lnTo>
                    <a:pt x="49" y="111"/>
                  </a:lnTo>
                  <a:lnTo>
                    <a:pt x="67" y="111"/>
                  </a:lnTo>
                  <a:lnTo>
                    <a:pt x="84" y="79"/>
                  </a:lnTo>
                  <a:lnTo>
                    <a:pt x="67" y="63"/>
                  </a:lnTo>
                  <a:lnTo>
                    <a:pt x="119" y="3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4" name="Freeform 205">
              <a:extLst>
                <a:ext uri="{FF2B5EF4-FFF2-40B4-BE49-F238E27FC236}">
                  <a16:creationId xmlns:a16="http://schemas.microsoft.com/office/drawing/2014/main" id="{B59DFF0D-60DB-4B7B-B4F7-69F98829029C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5810249" y="4110038"/>
              <a:ext cx="136525" cy="63500"/>
            </a:xfrm>
            <a:custGeom>
              <a:avLst/>
              <a:gdLst>
                <a:gd name="T0" fmla="*/ 26832 w 173"/>
                <a:gd name="T1" fmla="*/ 13494 h 80"/>
                <a:gd name="T2" fmla="*/ 26832 w 173"/>
                <a:gd name="T3" fmla="*/ 13494 h 80"/>
                <a:gd name="T4" fmla="*/ 33934 w 173"/>
                <a:gd name="T5" fmla="*/ 6350 h 80"/>
                <a:gd name="T6" fmla="*/ 33934 w 173"/>
                <a:gd name="T7" fmla="*/ 3969 h 80"/>
                <a:gd name="T8" fmla="*/ 30777 w 173"/>
                <a:gd name="T9" fmla="*/ 0 h 80"/>
                <a:gd name="T10" fmla="*/ 20518 w 173"/>
                <a:gd name="T11" fmla="*/ 9525 h 80"/>
                <a:gd name="T12" fmla="*/ 10259 w 173"/>
                <a:gd name="T13" fmla="*/ 9525 h 80"/>
                <a:gd name="T14" fmla="*/ 3157 w 173"/>
                <a:gd name="T15" fmla="*/ 9525 h 80"/>
                <a:gd name="T16" fmla="*/ 0 w 173"/>
                <a:gd name="T17" fmla="*/ 13494 h 80"/>
                <a:gd name="T18" fmla="*/ 3157 w 173"/>
                <a:gd name="T19" fmla="*/ 15875 h 80"/>
                <a:gd name="T20" fmla="*/ 6313 w 173"/>
                <a:gd name="T21" fmla="*/ 15875 h 80"/>
                <a:gd name="T22" fmla="*/ 10259 w 173"/>
                <a:gd name="T23" fmla="*/ 15875 h 80"/>
                <a:gd name="T24" fmla="*/ 13416 w 173"/>
                <a:gd name="T25" fmla="*/ 15875 h 80"/>
                <a:gd name="T26" fmla="*/ 16572 w 173"/>
                <a:gd name="T27" fmla="*/ 15875 h 80"/>
                <a:gd name="T28" fmla="*/ 20518 w 173"/>
                <a:gd name="T29" fmla="*/ 15875 h 80"/>
                <a:gd name="T30" fmla="*/ 20518 w 173"/>
                <a:gd name="T31" fmla="*/ 13494 h 80"/>
                <a:gd name="T32" fmla="*/ 23675 w 173"/>
                <a:gd name="T33" fmla="*/ 13494 h 80"/>
                <a:gd name="T34" fmla="*/ 26832 w 173"/>
                <a:gd name="T35" fmla="*/ 13494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80"/>
                <a:gd name="T56" fmla="*/ 173 w 173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80">
                  <a:moveTo>
                    <a:pt x="139" y="65"/>
                  </a:moveTo>
                  <a:lnTo>
                    <a:pt x="139" y="65"/>
                  </a:lnTo>
                  <a:lnTo>
                    <a:pt x="173" y="32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04" y="48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35" y="80"/>
                  </a:lnTo>
                  <a:lnTo>
                    <a:pt x="52" y="80"/>
                  </a:lnTo>
                  <a:lnTo>
                    <a:pt x="70" y="80"/>
                  </a:lnTo>
                  <a:lnTo>
                    <a:pt x="87" y="80"/>
                  </a:lnTo>
                  <a:lnTo>
                    <a:pt x="104" y="80"/>
                  </a:lnTo>
                  <a:lnTo>
                    <a:pt x="104" y="65"/>
                  </a:lnTo>
                  <a:lnTo>
                    <a:pt x="121" y="65"/>
                  </a:lnTo>
                  <a:lnTo>
                    <a:pt x="139" y="6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5" name="Freeform 206">
              <a:extLst>
                <a:ext uri="{FF2B5EF4-FFF2-40B4-BE49-F238E27FC236}">
                  <a16:creationId xmlns:a16="http://schemas.microsoft.com/office/drawing/2014/main" id="{4DFE45DF-3CAC-456C-89D0-2FFA96FFC8B6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932487" y="4097338"/>
              <a:ext cx="14288" cy="25400"/>
            </a:xfrm>
            <a:custGeom>
              <a:avLst/>
              <a:gdLst>
                <a:gd name="T0" fmla="*/ 4202 w 17"/>
                <a:gd name="T1" fmla="*/ 6158 h 33"/>
                <a:gd name="T2" fmla="*/ 4202 w 17"/>
                <a:gd name="T3" fmla="*/ 6158 h 33"/>
                <a:gd name="T4" fmla="*/ 0 w 17"/>
                <a:gd name="T5" fmla="*/ 3079 h 33"/>
                <a:gd name="T6" fmla="*/ 0 w 17"/>
                <a:gd name="T7" fmla="*/ 0 h 33"/>
                <a:gd name="T8" fmla="*/ 4202 w 17"/>
                <a:gd name="T9" fmla="*/ 0 h 33"/>
                <a:gd name="T10" fmla="*/ 4202 w 17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6" name="Freeform 207">
              <a:extLst>
                <a:ext uri="{FF2B5EF4-FFF2-40B4-BE49-F238E27FC236}">
                  <a16:creationId xmlns:a16="http://schemas.microsoft.com/office/drawing/2014/main" id="{BD15A3E4-C0A7-4733-891C-C7B8DE832777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643562" y="4287838"/>
              <a:ext cx="220663" cy="101600"/>
            </a:xfrm>
            <a:custGeom>
              <a:avLst/>
              <a:gdLst>
                <a:gd name="T0" fmla="*/ 0 w 279"/>
                <a:gd name="T1" fmla="*/ 6301 h 129"/>
                <a:gd name="T2" fmla="*/ 0 w 279"/>
                <a:gd name="T3" fmla="*/ 6301 h 129"/>
                <a:gd name="T4" fmla="*/ 3164 w 279"/>
                <a:gd name="T5" fmla="*/ 3150 h 129"/>
                <a:gd name="T6" fmla="*/ 13445 w 279"/>
                <a:gd name="T7" fmla="*/ 11814 h 129"/>
                <a:gd name="T8" fmla="*/ 16609 w 279"/>
                <a:gd name="T9" fmla="*/ 18902 h 129"/>
                <a:gd name="T10" fmla="*/ 41127 w 279"/>
                <a:gd name="T11" fmla="*/ 3150 h 129"/>
                <a:gd name="T12" fmla="*/ 54573 w 279"/>
                <a:gd name="T13" fmla="*/ 0 h 129"/>
                <a:gd name="T14" fmla="*/ 54573 w 279"/>
                <a:gd name="T15" fmla="*/ 3150 h 129"/>
                <a:gd name="T16" fmla="*/ 51409 w 279"/>
                <a:gd name="T17" fmla="*/ 6301 h 129"/>
                <a:gd name="T18" fmla="*/ 51409 w 279"/>
                <a:gd name="T19" fmla="*/ 9451 h 129"/>
                <a:gd name="T20" fmla="*/ 37964 w 279"/>
                <a:gd name="T21" fmla="*/ 11814 h 129"/>
                <a:gd name="T22" fmla="*/ 23727 w 279"/>
                <a:gd name="T23" fmla="*/ 21265 h 129"/>
                <a:gd name="T24" fmla="*/ 16609 w 279"/>
                <a:gd name="T25" fmla="*/ 21265 h 129"/>
                <a:gd name="T26" fmla="*/ 10282 w 279"/>
                <a:gd name="T27" fmla="*/ 25203 h 129"/>
                <a:gd name="T28" fmla="*/ 3164 w 279"/>
                <a:gd name="T29" fmla="*/ 25203 h 129"/>
                <a:gd name="T30" fmla="*/ 0 w 279"/>
                <a:gd name="T31" fmla="*/ 6301 h 1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9"/>
                <a:gd name="T49" fmla="*/ 0 h 129"/>
                <a:gd name="T50" fmla="*/ 279 w 279"/>
                <a:gd name="T51" fmla="*/ 129 h 1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9" h="129">
                  <a:moveTo>
                    <a:pt x="0" y="33"/>
                  </a:moveTo>
                  <a:lnTo>
                    <a:pt x="0" y="33"/>
                  </a:lnTo>
                  <a:lnTo>
                    <a:pt x="17" y="16"/>
                  </a:lnTo>
                  <a:lnTo>
                    <a:pt x="69" y="63"/>
                  </a:lnTo>
                  <a:lnTo>
                    <a:pt x="87" y="96"/>
                  </a:lnTo>
                  <a:lnTo>
                    <a:pt x="209" y="16"/>
                  </a:lnTo>
                  <a:lnTo>
                    <a:pt x="279" y="0"/>
                  </a:lnTo>
                  <a:lnTo>
                    <a:pt x="279" y="16"/>
                  </a:lnTo>
                  <a:lnTo>
                    <a:pt x="261" y="33"/>
                  </a:lnTo>
                  <a:lnTo>
                    <a:pt x="261" y="48"/>
                  </a:lnTo>
                  <a:lnTo>
                    <a:pt x="192" y="63"/>
                  </a:lnTo>
                  <a:lnTo>
                    <a:pt x="123" y="111"/>
                  </a:lnTo>
                  <a:lnTo>
                    <a:pt x="87" y="111"/>
                  </a:lnTo>
                  <a:lnTo>
                    <a:pt x="52" y="129"/>
                  </a:lnTo>
                  <a:lnTo>
                    <a:pt x="17" y="129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7" name="Freeform 208">
              <a:extLst>
                <a:ext uri="{FF2B5EF4-FFF2-40B4-BE49-F238E27FC236}">
                  <a16:creationId xmlns:a16="http://schemas.microsoft.com/office/drawing/2014/main" id="{D4995677-A200-4DA8-8FEC-4CADD4C303C3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4900613" y="3690938"/>
              <a:ext cx="12700" cy="52388"/>
            </a:xfrm>
            <a:custGeom>
              <a:avLst/>
              <a:gdLst>
                <a:gd name="T0" fmla="*/ 0 w 18"/>
                <a:gd name="T1" fmla="*/ 4030 h 65"/>
                <a:gd name="T2" fmla="*/ 0 w 18"/>
                <a:gd name="T3" fmla="*/ 4030 h 65"/>
                <a:gd name="T4" fmla="*/ 0 w 18"/>
                <a:gd name="T5" fmla="*/ 9672 h 65"/>
                <a:gd name="T6" fmla="*/ 2822 w 18"/>
                <a:gd name="T7" fmla="*/ 13701 h 65"/>
                <a:gd name="T8" fmla="*/ 2822 w 18"/>
                <a:gd name="T9" fmla="*/ 0 h 65"/>
                <a:gd name="T10" fmla="*/ 0 w 18"/>
                <a:gd name="T11" fmla="*/ 403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65"/>
                <a:gd name="T20" fmla="*/ 18 w 18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65">
                  <a:moveTo>
                    <a:pt x="0" y="17"/>
                  </a:moveTo>
                  <a:lnTo>
                    <a:pt x="0" y="17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18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8" name="Freeform 209">
              <a:extLst>
                <a:ext uri="{FF2B5EF4-FFF2-40B4-BE49-F238E27FC236}">
                  <a16:creationId xmlns:a16="http://schemas.microsoft.com/office/drawing/2014/main" id="{4BD17343-9820-4BC1-96FE-591C85566AEA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4886325" y="3743326"/>
              <a:ext cx="41275" cy="61913"/>
            </a:xfrm>
            <a:custGeom>
              <a:avLst/>
              <a:gdLst>
                <a:gd name="T0" fmla="*/ 0 w 52"/>
                <a:gd name="T1" fmla="*/ 0 h 79"/>
                <a:gd name="T2" fmla="*/ 0 w 52"/>
                <a:gd name="T3" fmla="*/ 0 h 79"/>
                <a:gd name="T4" fmla="*/ 3969 w 52"/>
                <a:gd name="T5" fmla="*/ 12539 h 79"/>
                <a:gd name="T6" fmla="*/ 3969 w 52"/>
                <a:gd name="T7" fmla="*/ 14890 h 79"/>
                <a:gd name="T8" fmla="*/ 7144 w 52"/>
                <a:gd name="T9" fmla="*/ 12539 h 79"/>
                <a:gd name="T10" fmla="*/ 10319 w 52"/>
                <a:gd name="T11" fmla="*/ 3135 h 79"/>
                <a:gd name="T12" fmla="*/ 7144 w 52"/>
                <a:gd name="T13" fmla="*/ 0 h 79"/>
                <a:gd name="T14" fmla="*/ 0 w 52"/>
                <a:gd name="T15" fmla="*/ 0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79"/>
                <a:gd name="T26" fmla="*/ 52 w 52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79">
                  <a:moveTo>
                    <a:pt x="0" y="0"/>
                  </a:moveTo>
                  <a:lnTo>
                    <a:pt x="0" y="0"/>
                  </a:lnTo>
                  <a:lnTo>
                    <a:pt x="17" y="64"/>
                  </a:lnTo>
                  <a:lnTo>
                    <a:pt x="17" y="79"/>
                  </a:lnTo>
                  <a:lnTo>
                    <a:pt x="35" y="64"/>
                  </a:lnTo>
                  <a:lnTo>
                    <a:pt x="52" y="16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49" name="Freeform 210">
              <a:extLst>
                <a:ext uri="{FF2B5EF4-FFF2-40B4-BE49-F238E27FC236}">
                  <a16:creationId xmlns:a16="http://schemas.microsoft.com/office/drawing/2014/main" id="{CD93AE9B-2308-4CE0-8135-8E5AE1026ED1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4983162" y="3819526"/>
              <a:ext cx="71438" cy="38100"/>
            </a:xfrm>
            <a:custGeom>
              <a:avLst/>
              <a:gdLst>
                <a:gd name="T0" fmla="*/ 0 w 88"/>
                <a:gd name="T1" fmla="*/ 0 h 48"/>
                <a:gd name="T2" fmla="*/ 0 w 88"/>
                <a:gd name="T3" fmla="*/ 0 h 48"/>
                <a:gd name="T4" fmla="*/ 0 w 88"/>
                <a:gd name="T5" fmla="*/ 2381 h 48"/>
                <a:gd name="T6" fmla="*/ 14612 w 88"/>
                <a:gd name="T7" fmla="*/ 9525 h 48"/>
                <a:gd name="T8" fmla="*/ 18671 w 88"/>
                <a:gd name="T9" fmla="*/ 0 h 48"/>
                <a:gd name="T10" fmla="*/ 11365 w 88"/>
                <a:gd name="T11" fmla="*/ 0 h 48"/>
                <a:gd name="T12" fmla="*/ 4059 w 88"/>
                <a:gd name="T13" fmla="*/ 0 h 48"/>
                <a:gd name="T14" fmla="*/ 0 w 88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8"/>
                <a:gd name="T26" fmla="*/ 88 w 88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9" y="48"/>
                  </a:lnTo>
                  <a:lnTo>
                    <a:pt x="88" y="0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0" name="Freeform 211">
              <a:extLst>
                <a:ext uri="{FF2B5EF4-FFF2-40B4-BE49-F238E27FC236}">
                  <a16:creationId xmlns:a16="http://schemas.microsoft.com/office/drawing/2014/main" id="{941F8A33-D1B5-4D47-9D65-BA0413831339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5176837" y="3819526"/>
              <a:ext cx="41275" cy="38100"/>
            </a:xfrm>
            <a:custGeom>
              <a:avLst/>
              <a:gdLst>
                <a:gd name="T0" fmla="*/ 0 w 52"/>
                <a:gd name="T1" fmla="*/ 2381 h 48"/>
                <a:gd name="T2" fmla="*/ 0 w 52"/>
                <a:gd name="T3" fmla="*/ 2381 h 48"/>
                <a:gd name="T4" fmla="*/ 3969 w 52"/>
                <a:gd name="T5" fmla="*/ 2381 h 48"/>
                <a:gd name="T6" fmla="*/ 3969 w 52"/>
                <a:gd name="T7" fmla="*/ 9525 h 48"/>
                <a:gd name="T8" fmla="*/ 7144 w 52"/>
                <a:gd name="T9" fmla="*/ 9525 h 48"/>
                <a:gd name="T10" fmla="*/ 10319 w 52"/>
                <a:gd name="T11" fmla="*/ 9525 h 48"/>
                <a:gd name="T12" fmla="*/ 7144 w 52"/>
                <a:gd name="T13" fmla="*/ 2381 h 48"/>
                <a:gd name="T14" fmla="*/ 10319 w 52"/>
                <a:gd name="T15" fmla="*/ 5556 h 48"/>
                <a:gd name="T16" fmla="*/ 10319 w 52"/>
                <a:gd name="T17" fmla="*/ 2381 h 48"/>
                <a:gd name="T18" fmla="*/ 3969 w 52"/>
                <a:gd name="T19" fmla="*/ 0 h 48"/>
                <a:gd name="T20" fmla="*/ 0 w 52"/>
                <a:gd name="T21" fmla="*/ 238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52" y="31"/>
                  </a:lnTo>
                  <a:lnTo>
                    <a:pt x="52" y="15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1" name="Freeform 212">
              <a:extLst>
                <a:ext uri="{FF2B5EF4-FFF2-40B4-BE49-F238E27FC236}">
                  <a16:creationId xmlns:a16="http://schemas.microsoft.com/office/drawing/2014/main" id="{CA60CA5E-0BF2-4D05-9EBE-46EAEDDB12FF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5230812" y="3881438"/>
              <a:ext cx="55563" cy="14288"/>
            </a:xfrm>
            <a:custGeom>
              <a:avLst/>
              <a:gdLst>
                <a:gd name="T0" fmla="*/ 0 w 71"/>
                <a:gd name="T1" fmla="*/ 4202 h 17"/>
                <a:gd name="T2" fmla="*/ 0 w 71"/>
                <a:gd name="T3" fmla="*/ 4202 h 17"/>
                <a:gd name="T4" fmla="*/ 7043 w 71"/>
                <a:gd name="T5" fmla="*/ 4202 h 17"/>
                <a:gd name="T6" fmla="*/ 13304 w 71"/>
                <a:gd name="T7" fmla="*/ 4202 h 17"/>
                <a:gd name="T8" fmla="*/ 10174 w 71"/>
                <a:gd name="T9" fmla="*/ 4202 h 17"/>
                <a:gd name="T10" fmla="*/ 0 w 71"/>
                <a:gd name="T11" fmla="*/ 0 h 17"/>
                <a:gd name="T12" fmla="*/ 0 w 71"/>
                <a:gd name="T13" fmla="*/ 4202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7"/>
                <a:gd name="T23" fmla="*/ 71 w 7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7">
                  <a:moveTo>
                    <a:pt x="0" y="17"/>
                  </a:moveTo>
                  <a:lnTo>
                    <a:pt x="0" y="17"/>
                  </a:lnTo>
                  <a:lnTo>
                    <a:pt x="36" y="17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2" name="Freeform 213">
              <a:extLst>
                <a:ext uri="{FF2B5EF4-FFF2-40B4-BE49-F238E27FC236}">
                  <a16:creationId xmlns:a16="http://schemas.microsoft.com/office/drawing/2014/main" id="{499CBF17-89EA-43AD-90B1-31118BE80E89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410199" y="3881438"/>
              <a:ext cx="55563" cy="25400"/>
            </a:xfrm>
            <a:custGeom>
              <a:avLst/>
              <a:gdLst>
                <a:gd name="T0" fmla="*/ 0 w 70"/>
                <a:gd name="T1" fmla="*/ 3175 h 32"/>
                <a:gd name="T2" fmla="*/ 0 w 70"/>
                <a:gd name="T3" fmla="*/ 3175 h 32"/>
                <a:gd name="T4" fmla="*/ 3175 w 70"/>
                <a:gd name="T5" fmla="*/ 6350 h 32"/>
                <a:gd name="T6" fmla="*/ 7144 w 70"/>
                <a:gd name="T7" fmla="*/ 6350 h 32"/>
                <a:gd name="T8" fmla="*/ 10319 w 70"/>
                <a:gd name="T9" fmla="*/ 3175 h 32"/>
                <a:gd name="T10" fmla="*/ 14288 w 70"/>
                <a:gd name="T11" fmla="*/ 0 h 32"/>
                <a:gd name="T12" fmla="*/ 0 w 70"/>
                <a:gd name="T13" fmla="*/ 3175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32"/>
                <a:gd name="T23" fmla="*/ 70 w 70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32">
                  <a:moveTo>
                    <a:pt x="0" y="17"/>
                  </a:moveTo>
                  <a:lnTo>
                    <a:pt x="0" y="17"/>
                  </a:lnTo>
                  <a:lnTo>
                    <a:pt x="18" y="32"/>
                  </a:lnTo>
                  <a:lnTo>
                    <a:pt x="35" y="32"/>
                  </a:lnTo>
                  <a:lnTo>
                    <a:pt x="52" y="17"/>
                  </a:lnTo>
                  <a:lnTo>
                    <a:pt x="7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3" name="Line 214">
              <a:extLst>
                <a:ext uri="{FF2B5EF4-FFF2-40B4-BE49-F238E27FC236}">
                  <a16:creationId xmlns:a16="http://schemas.microsoft.com/office/drawing/2014/main" id="{D20845DE-133E-41AD-919E-81961AB1FF69}"/>
                </a:ext>
              </a:extLst>
            </p:cNvPr>
            <p:cNvSpPr>
              <a:spLocks noChangeShapeType="1"/>
            </p:cNvSpPr>
            <p:nvPr>
              <p:custDataLst>
                <p:tags r:id="rId214"/>
              </p:custDataLst>
            </p:nvPr>
          </p:nvSpPr>
          <p:spPr bwMode="auto">
            <a:xfrm flipV="1">
              <a:off x="5322887" y="3862388"/>
              <a:ext cx="11113" cy="381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4" name="Freeform 215">
              <a:extLst>
                <a:ext uri="{FF2B5EF4-FFF2-40B4-BE49-F238E27FC236}">
                  <a16:creationId xmlns:a16="http://schemas.microsoft.com/office/drawing/2014/main" id="{F75D8436-A6C0-44A8-8216-CD379EF93503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5686424" y="3767138"/>
              <a:ext cx="26988" cy="25400"/>
            </a:xfrm>
            <a:custGeom>
              <a:avLst/>
              <a:gdLst>
                <a:gd name="T0" fmla="*/ 6169 w 35"/>
                <a:gd name="T1" fmla="*/ 6158 h 33"/>
                <a:gd name="T2" fmla="*/ 6169 w 35"/>
                <a:gd name="T3" fmla="*/ 6158 h 33"/>
                <a:gd name="T4" fmla="*/ 3084 w 35"/>
                <a:gd name="T5" fmla="*/ 6158 h 33"/>
                <a:gd name="T6" fmla="*/ 0 w 35"/>
                <a:gd name="T7" fmla="*/ 0 h 33"/>
                <a:gd name="T8" fmla="*/ 6169 w 35"/>
                <a:gd name="T9" fmla="*/ 3079 h 33"/>
                <a:gd name="T10" fmla="*/ 6169 w 35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35" y="33"/>
                  </a:moveTo>
                  <a:lnTo>
                    <a:pt x="35" y="33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35" y="17"/>
                  </a:lnTo>
                  <a:lnTo>
                    <a:pt x="35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5" name="Freeform 216">
              <a:extLst>
                <a:ext uri="{FF2B5EF4-FFF2-40B4-BE49-F238E27FC236}">
                  <a16:creationId xmlns:a16="http://schemas.microsoft.com/office/drawing/2014/main" id="{9DC71F7D-740E-4EBD-9197-554D04B2B44B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5478462" y="3843338"/>
              <a:ext cx="165100" cy="114300"/>
            </a:xfrm>
            <a:custGeom>
              <a:avLst/>
              <a:gdLst>
                <a:gd name="T0" fmla="*/ 0 w 207"/>
                <a:gd name="T1" fmla="*/ 28575 h 144"/>
                <a:gd name="T2" fmla="*/ 0 w 207"/>
                <a:gd name="T3" fmla="*/ 28575 h 144"/>
                <a:gd name="T4" fmla="*/ 3988 w 207"/>
                <a:gd name="T5" fmla="*/ 25400 h 144"/>
                <a:gd name="T6" fmla="*/ 7178 w 207"/>
                <a:gd name="T7" fmla="*/ 19050 h 144"/>
                <a:gd name="T8" fmla="*/ 3988 w 207"/>
                <a:gd name="T9" fmla="*/ 15875 h 144"/>
                <a:gd name="T10" fmla="*/ 3988 w 207"/>
                <a:gd name="T11" fmla="*/ 6350 h 144"/>
                <a:gd name="T12" fmla="*/ 7178 w 207"/>
                <a:gd name="T13" fmla="*/ 6350 h 144"/>
                <a:gd name="T14" fmla="*/ 7178 w 207"/>
                <a:gd name="T15" fmla="*/ 3969 h 144"/>
                <a:gd name="T16" fmla="*/ 17547 w 207"/>
                <a:gd name="T17" fmla="*/ 0 h 144"/>
                <a:gd name="T18" fmla="*/ 20737 w 207"/>
                <a:gd name="T19" fmla="*/ 3969 h 144"/>
                <a:gd name="T20" fmla="*/ 31106 w 207"/>
                <a:gd name="T21" fmla="*/ 0 h 144"/>
                <a:gd name="T22" fmla="*/ 41474 w 207"/>
                <a:gd name="T23" fmla="*/ 0 h 144"/>
                <a:gd name="T24" fmla="*/ 35094 w 207"/>
                <a:gd name="T25" fmla="*/ 3969 h 144"/>
                <a:gd name="T26" fmla="*/ 31106 w 207"/>
                <a:gd name="T27" fmla="*/ 15875 h 144"/>
                <a:gd name="T28" fmla="*/ 20737 w 207"/>
                <a:gd name="T29" fmla="*/ 22225 h 144"/>
                <a:gd name="T30" fmla="*/ 17547 w 207"/>
                <a:gd name="T31" fmla="*/ 22225 h 144"/>
                <a:gd name="T32" fmla="*/ 7178 w 207"/>
                <a:gd name="T33" fmla="*/ 28575 h 144"/>
                <a:gd name="T34" fmla="*/ 0 w 207"/>
                <a:gd name="T35" fmla="*/ 28575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7"/>
                <a:gd name="T55" fmla="*/ 0 h 144"/>
                <a:gd name="T56" fmla="*/ 207 w 207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7" h="144">
                  <a:moveTo>
                    <a:pt x="0" y="144"/>
                  </a:moveTo>
                  <a:lnTo>
                    <a:pt x="0" y="144"/>
                  </a:lnTo>
                  <a:lnTo>
                    <a:pt x="17" y="128"/>
                  </a:lnTo>
                  <a:lnTo>
                    <a:pt x="34" y="96"/>
                  </a:lnTo>
                  <a:lnTo>
                    <a:pt x="17" y="80"/>
                  </a:lnTo>
                  <a:lnTo>
                    <a:pt x="17" y="32"/>
                  </a:lnTo>
                  <a:lnTo>
                    <a:pt x="34" y="32"/>
                  </a:lnTo>
                  <a:lnTo>
                    <a:pt x="34" y="17"/>
                  </a:lnTo>
                  <a:lnTo>
                    <a:pt x="86" y="0"/>
                  </a:lnTo>
                  <a:lnTo>
                    <a:pt x="104" y="17"/>
                  </a:lnTo>
                  <a:lnTo>
                    <a:pt x="155" y="0"/>
                  </a:lnTo>
                  <a:lnTo>
                    <a:pt x="207" y="0"/>
                  </a:lnTo>
                  <a:lnTo>
                    <a:pt x="173" y="17"/>
                  </a:lnTo>
                  <a:lnTo>
                    <a:pt x="155" y="80"/>
                  </a:lnTo>
                  <a:lnTo>
                    <a:pt x="104" y="113"/>
                  </a:lnTo>
                  <a:lnTo>
                    <a:pt x="86" y="113"/>
                  </a:lnTo>
                  <a:lnTo>
                    <a:pt x="34" y="144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6" name="Freeform 217">
              <a:extLst>
                <a:ext uri="{FF2B5EF4-FFF2-40B4-BE49-F238E27FC236}">
                  <a16:creationId xmlns:a16="http://schemas.microsoft.com/office/drawing/2014/main" id="{AA4284D7-DB0B-476F-BB42-306288F85D13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5451474" y="3944938"/>
              <a:ext cx="41275" cy="88900"/>
            </a:xfrm>
            <a:custGeom>
              <a:avLst/>
              <a:gdLst>
                <a:gd name="T0" fmla="*/ 7144 w 52"/>
                <a:gd name="T1" fmla="*/ 3175 h 112"/>
                <a:gd name="T2" fmla="*/ 7144 w 52"/>
                <a:gd name="T3" fmla="*/ 3175 h 112"/>
                <a:gd name="T4" fmla="*/ 7144 w 52"/>
                <a:gd name="T5" fmla="*/ 7144 h 112"/>
                <a:gd name="T6" fmla="*/ 7144 w 52"/>
                <a:gd name="T7" fmla="*/ 12700 h 112"/>
                <a:gd name="T8" fmla="*/ 3969 w 52"/>
                <a:gd name="T9" fmla="*/ 22225 h 112"/>
                <a:gd name="T10" fmla="*/ 0 w 52"/>
                <a:gd name="T11" fmla="*/ 9525 h 112"/>
                <a:gd name="T12" fmla="*/ 3969 w 52"/>
                <a:gd name="T13" fmla="*/ 7144 h 112"/>
                <a:gd name="T14" fmla="*/ 7144 w 52"/>
                <a:gd name="T15" fmla="*/ 0 h 112"/>
                <a:gd name="T16" fmla="*/ 10319 w 52"/>
                <a:gd name="T17" fmla="*/ 0 h 112"/>
                <a:gd name="T18" fmla="*/ 7144 w 52"/>
                <a:gd name="T19" fmla="*/ 3175 h 1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112"/>
                <a:gd name="T32" fmla="*/ 52 w 52"/>
                <a:gd name="T33" fmla="*/ 112 h 1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112">
                  <a:moveTo>
                    <a:pt x="35" y="16"/>
                  </a:moveTo>
                  <a:lnTo>
                    <a:pt x="35" y="16"/>
                  </a:lnTo>
                  <a:lnTo>
                    <a:pt x="35" y="33"/>
                  </a:lnTo>
                  <a:lnTo>
                    <a:pt x="35" y="64"/>
                  </a:lnTo>
                  <a:lnTo>
                    <a:pt x="18" y="112"/>
                  </a:lnTo>
                  <a:lnTo>
                    <a:pt x="0" y="48"/>
                  </a:lnTo>
                  <a:lnTo>
                    <a:pt x="18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35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7" name="Freeform 218">
              <a:extLst>
                <a:ext uri="{FF2B5EF4-FFF2-40B4-BE49-F238E27FC236}">
                  <a16:creationId xmlns:a16="http://schemas.microsoft.com/office/drawing/2014/main" id="{A0C7A397-2BCA-4B7B-9A3B-EAED4D99541A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5561012" y="3830638"/>
              <a:ext cx="206375" cy="203200"/>
            </a:xfrm>
            <a:custGeom>
              <a:avLst/>
              <a:gdLst>
                <a:gd name="T0" fmla="*/ 31076 w 259"/>
                <a:gd name="T1" fmla="*/ 3175 h 256"/>
                <a:gd name="T2" fmla="*/ 31076 w 259"/>
                <a:gd name="T3" fmla="*/ 3175 h 256"/>
                <a:gd name="T4" fmla="*/ 34263 w 259"/>
                <a:gd name="T5" fmla="*/ 9525 h 256"/>
                <a:gd name="T6" fmla="*/ 38247 w 259"/>
                <a:gd name="T7" fmla="*/ 9525 h 256"/>
                <a:gd name="T8" fmla="*/ 38247 w 259"/>
                <a:gd name="T9" fmla="*/ 15875 h 256"/>
                <a:gd name="T10" fmla="*/ 34263 w 259"/>
                <a:gd name="T11" fmla="*/ 22225 h 256"/>
                <a:gd name="T12" fmla="*/ 38247 w 259"/>
                <a:gd name="T13" fmla="*/ 28575 h 256"/>
                <a:gd name="T14" fmla="*/ 44622 w 259"/>
                <a:gd name="T15" fmla="*/ 31750 h 256"/>
                <a:gd name="T16" fmla="*/ 48606 w 259"/>
                <a:gd name="T17" fmla="*/ 41275 h 256"/>
                <a:gd name="T18" fmla="*/ 51793 w 259"/>
                <a:gd name="T19" fmla="*/ 44450 h 256"/>
                <a:gd name="T20" fmla="*/ 51793 w 259"/>
                <a:gd name="T21" fmla="*/ 47625 h 256"/>
                <a:gd name="T22" fmla="*/ 44622 w 259"/>
                <a:gd name="T23" fmla="*/ 47625 h 256"/>
                <a:gd name="T24" fmla="*/ 41434 w 259"/>
                <a:gd name="T25" fmla="*/ 50800 h 256"/>
                <a:gd name="T26" fmla="*/ 34263 w 259"/>
                <a:gd name="T27" fmla="*/ 47625 h 256"/>
                <a:gd name="T28" fmla="*/ 31076 w 259"/>
                <a:gd name="T29" fmla="*/ 50800 h 256"/>
                <a:gd name="T30" fmla="*/ 23904 w 259"/>
                <a:gd name="T31" fmla="*/ 47625 h 256"/>
                <a:gd name="T32" fmla="*/ 23904 w 259"/>
                <a:gd name="T33" fmla="*/ 44450 h 256"/>
                <a:gd name="T34" fmla="*/ 20717 w 259"/>
                <a:gd name="T35" fmla="*/ 41275 h 256"/>
                <a:gd name="T36" fmla="*/ 10359 w 259"/>
                <a:gd name="T37" fmla="*/ 34925 h 256"/>
                <a:gd name="T38" fmla="*/ 0 w 259"/>
                <a:gd name="T39" fmla="*/ 31750 h 256"/>
                <a:gd name="T40" fmla="*/ 0 w 259"/>
                <a:gd name="T41" fmla="*/ 25400 h 256"/>
                <a:gd name="T42" fmla="*/ 10359 w 259"/>
                <a:gd name="T43" fmla="*/ 19050 h 256"/>
                <a:gd name="T44" fmla="*/ 14343 w 259"/>
                <a:gd name="T45" fmla="*/ 6350 h 256"/>
                <a:gd name="T46" fmla="*/ 20717 w 259"/>
                <a:gd name="T47" fmla="*/ 3175 h 256"/>
                <a:gd name="T48" fmla="*/ 20717 w 259"/>
                <a:gd name="T49" fmla="*/ 0 h 256"/>
                <a:gd name="T50" fmla="*/ 31076 w 259"/>
                <a:gd name="T51" fmla="*/ 3175 h 25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9"/>
                <a:gd name="T79" fmla="*/ 0 h 256"/>
                <a:gd name="T80" fmla="*/ 259 w 259"/>
                <a:gd name="T81" fmla="*/ 256 h 25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9" h="256">
                  <a:moveTo>
                    <a:pt x="155" y="16"/>
                  </a:moveTo>
                  <a:lnTo>
                    <a:pt x="155" y="16"/>
                  </a:lnTo>
                  <a:lnTo>
                    <a:pt x="172" y="48"/>
                  </a:lnTo>
                  <a:lnTo>
                    <a:pt x="190" y="48"/>
                  </a:lnTo>
                  <a:lnTo>
                    <a:pt x="190" y="81"/>
                  </a:lnTo>
                  <a:lnTo>
                    <a:pt x="172" y="112"/>
                  </a:lnTo>
                  <a:lnTo>
                    <a:pt x="190" y="144"/>
                  </a:lnTo>
                  <a:lnTo>
                    <a:pt x="224" y="160"/>
                  </a:lnTo>
                  <a:lnTo>
                    <a:pt x="241" y="208"/>
                  </a:lnTo>
                  <a:lnTo>
                    <a:pt x="259" y="225"/>
                  </a:lnTo>
                  <a:lnTo>
                    <a:pt x="259" y="240"/>
                  </a:lnTo>
                  <a:lnTo>
                    <a:pt x="224" y="240"/>
                  </a:lnTo>
                  <a:lnTo>
                    <a:pt x="207" y="256"/>
                  </a:lnTo>
                  <a:lnTo>
                    <a:pt x="172" y="240"/>
                  </a:lnTo>
                  <a:lnTo>
                    <a:pt x="155" y="256"/>
                  </a:lnTo>
                  <a:lnTo>
                    <a:pt x="120" y="240"/>
                  </a:lnTo>
                  <a:lnTo>
                    <a:pt x="120" y="225"/>
                  </a:lnTo>
                  <a:lnTo>
                    <a:pt x="103" y="208"/>
                  </a:lnTo>
                  <a:lnTo>
                    <a:pt x="51" y="177"/>
                  </a:lnTo>
                  <a:lnTo>
                    <a:pt x="0" y="160"/>
                  </a:lnTo>
                  <a:lnTo>
                    <a:pt x="0" y="129"/>
                  </a:lnTo>
                  <a:lnTo>
                    <a:pt x="51" y="96"/>
                  </a:lnTo>
                  <a:lnTo>
                    <a:pt x="69" y="33"/>
                  </a:lnTo>
                  <a:lnTo>
                    <a:pt x="103" y="16"/>
                  </a:lnTo>
                  <a:lnTo>
                    <a:pt x="103" y="0"/>
                  </a:lnTo>
                  <a:lnTo>
                    <a:pt x="155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8" name="Freeform 219">
              <a:extLst>
                <a:ext uri="{FF2B5EF4-FFF2-40B4-BE49-F238E27FC236}">
                  <a16:creationId xmlns:a16="http://schemas.microsoft.com/office/drawing/2014/main" id="{D4FB660A-44B3-483F-A0F4-D1AF76386CC9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5478462" y="3906838"/>
              <a:ext cx="30163" cy="38100"/>
            </a:xfrm>
            <a:custGeom>
              <a:avLst/>
              <a:gdLst>
                <a:gd name="T0" fmla="*/ 4189 w 36"/>
                <a:gd name="T1" fmla="*/ 9525 h 48"/>
                <a:gd name="T2" fmla="*/ 4189 w 36"/>
                <a:gd name="T3" fmla="*/ 9525 h 48"/>
                <a:gd name="T4" fmla="*/ 0 w 36"/>
                <a:gd name="T5" fmla="*/ 9525 h 48"/>
                <a:gd name="T6" fmla="*/ 4189 w 36"/>
                <a:gd name="T7" fmla="*/ 0 h 48"/>
                <a:gd name="T8" fmla="*/ 8379 w 36"/>
                <a:gd name="T9" fmla="*/ 3175 h 48"/>
                <a:gd name="T10" fmla="*/ 4189 w 36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48"/>
                <a:gd name="T20" fmla="*/ 36 w 3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17" y="0"/>
                  </a:lnTo>
                  <a:lnTo>
                    <a:pt x="36" y="16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59" name="Freeform 220">
              <a:extLst>
                <a:ext uri="{FF2B5EF4-FFF2-40B4-BE49-F238E27FC236}">
                  <a16:creationId xmlns:a16="http://schemas.microsoft.com/office/drawing/2014/main" id="{A041B85D-C3B0-4325-B4F8-D6F6E39C9500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5726112" y="4021138"/>
              <a:ext cx="41275" cy="25400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0 h 33"/>
                <a:gd name="T8" fmla="*/ 7144 w 52"/>
                <a:gd name="T9" fmla="*/ 3079 h 33"/>
                <a:gd name="T10" fmla="*/ 10319 w 52"/>
                <a:gd name="T11" fmla="*/ 6158 h 33"/>
                <a:gd name="T12" fmla="*/ 0 w 52"/>
                <a:gd name="T13" fmla="*/ 3079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3"/>
                <a:gd name="T23" fmla="*/ 52 w 52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34" y="16"/>
                  </a:lnTo>
                  <a:lnTo>
                    <a:pt x="52" y="33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0" name="Freeform 221">
              <a:extLst>
                <a:ext uri="{FF2B5EF4-FFF2-40B4-BE49-F238E27FC236}">
                  <a16:creationId xmlns:a16="http://schemas.microsoft.com/office/drawing/2014/main" id="{9FD6E977-C4EF-41EF-AD26-DFA2BFC774BD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5221287" y="3271838"/>
              <a:ext cx="206375" cy="166688"/>
            </a:xfrm>
            <a:custGeom>
              <a:avLst/>
              <a:gdLst>
                <a:gd name="T0" fmla="*/ 48606 w 259"/>
                <a:gd name="T1" fmla="*/ 35890 h 209"/>
                <a:gd name="T2" fmla="*/ 48606 w 259"/>
                <a:gd name="T3" fmla="*/ 35890 h 209"/>
                <a:gd name="T4" fmla="*/ 44622 w 259"/>
                <a:gd name="T5" fmla="*/ 28712 h 209"/>
                <a:gd name="T6" fmla="*/ 44622 w 259"/>
                <a:gd name="T7" fmla="*/ 26319 h 209"/>
                <a:gd name="T8" fmla="*/ 48606 w 259"/>
                <a:gd name="T9" fmla="*/ 28712 h 209"/>
                <a:gd name="T10" fmla="*/ 51793 w 259"/>
                <a:gd name="T11" fmla="*/ 23129 h 209"/>
                <a:gd name="T12" fmla="*/ 48606 w 259"/>
                <a:gd name="T13" fmla="*/ 23129 h 209"/>
                <a:gd name="T14" fmla="*/ 41434 w 259"/>
                <a:gd name="T15" fmla="*/ 13558 h 209"/>
                <a:gd name="T16" fmla="*/ 41434 w 259"/>
                <a:gd name="T17" fmla="*/ 7178 h 209"/>
                <a:gd name="T18" fmla="*/ 38247 w 259"/>
                <a:gd name="T19" fmla="*/ 3988 h 209"/>
                <a:gd name="T20" fmla="*/ 27889 w 259"/>
                <a:gd name="T21" fmla="*/ 0 h 209"/>
                <a:gd name="T22" fmla="*/ 20717 w 259"/>
                <a:gd name="T23" fmla="*/ 7178 h 209"/>
                <a:gd name="T24" fmla="*/ 20717 w 259"/>
                <a:gd name="T25" fmla="*/ 9571 h 209"/>
                <a:gd name="T26" fmla="*/ 14343 w 259"/>
                <a:gd name="T27" fmla="*/ 13558 h 209"/>
                <a:gd name="T28" fmla="*/ 14343 w 259"/>
                <a:gd name="T29" fmla="*/ 19141 h 209"/>
                <a:gd name="T30" fmla="*/ 10359 w 259"/>
                <a:gd name="T31" fmla="*/ 19141 h 209"/>
                <a:gd name="T32" fmla="*/ 3984 w 259"/>
                <a:gd name="T33" fmla="*/ 23129 h 209"/>
                <a:gd name="T34" fmla="*/ 0 w 259"/>
                <a:gd name="T35" fmla="*/ 23129 h 209"/>
                <a:gd name="T36" fmla="*/ 3984 w 259"/>
                <a:gd name="T37" fmla="*/ 28712 h 209"/>
                <a:gd name="T38" fmla="*/ 0 w 259"/>
                <a:gd name="T39" fmla="*/ 35890 h 209"/>
                <a:gd name="T40" fmla="*/ 0 w 259"/>
                <a:gd name="T41" fmla="*/ 42270 h 209"/>
                <a:gd name="T42" fmla="*/ 7171 w 259"/>
                <a:gd name="T43" fmla="*/ 38282 h 209"/>
                <a:gd name="T44" fmla="*/ 14343 w 259"/>
                <a:gd name="T45" fmla="*/ 38282 h 209"/>
                <a:gd name="T46" fmla="*/ 24701 w 259"/>
                <a:gd name="T47" fmla="*/ 42270 h 209"/>
                <a:gd name="T48" fmla="*/ 27889 w 259"/>
                <a:gd name="T49" fmla="*/ 42270 h 209"/>
                <a:gd name="T50" fmla="*/ 31076 w 259"/>
                <a:gd name="T51" fmla="*/ 42270 h 209"/>
                <a:gd name="T52" fmla="*/ 34263 w 259"/>
                <a:gd name="T53" fmla="*/ 42270 h 209"/>
                <a:gd name="T54" fmla="*/ 41434 w 259"/>
                <a:gd name="T55" fmla="*/ 42270 h 209"/>
                <a:gd name="T56" fmla="*/ 44622 w 259"/>
                <a:gd name="T57" fmla="*/ 35890 h 209"/>
                <a:gd name="T58" fmla="*/ 48606 w 259"/>
                <a:gd name="T59" fmla="*/ 35890 h 2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9"/>
                <a:gd name="T91" fmla="*/ 0 h 209"/>
                <a:gd name="T92" fmla="*/ 259 w 259"/>
                <a:gd name="T93" fmla="*/ 209 h 2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9" h="209">
                  <a:moveTo>
                    <a:pt x="241" y="177"/>
                  </a:moveTo>
                  <a:lnTo>
                    <a:pt x="241" y="177"/>
                  </a:lnTo>
                  <a:lnTo>
                    <a:pt x="224" y="144"/>
                  </a:lnTo>
                  <a:lnTo>
                    <a:pt x="224" y="129"/>
                  </a:lnTo>
                  <a:lnTo>
                    <a:pt x="241" y="144"/>
                  </a:lnTo>
                  <a:lnTo>
                    <a:pt x="259" y="113"/>
                  </a:lnTo>
                  <a:lnTo>
                    <a:pt x="241" y="113"/>
                  </a:lnTo>
                  <a:lnTo>
                    <a:pt x="207" y="66"/>
                  </a:lnTo>
                  <a:lnTo>
                    <a:pt x="207" y="33"/>
                  </a:lnTo>
                  <a:lnTo>
                    <a:pt x="190" y="18"/>
                  </a:lnTo>
                  <a:lnTo>
                    <a:pt x="138" y="0"/>
                  </a:lnTo>
                  <a:lnTo>
                    <a:pt x="103" y="33"/>
                  </a:lnTo>
                  <a:lnTo>
                    <a:pt x="103" y="48"/>
                  </a:lnTo>
                  <a:lnTo>
                    <a:pt x="69" y="66"/>
                  </a:lnTo>
                  <a:lnTo>
                    <a:pt x="69" y="96"/>
                  </a:lnTo>
                  <a:lnTo>
                    <a:pt x="51" y="96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17" y="144"/>
                  </a:lnTo>
                  <a:lnTo>
                    <a:pt x="0" y="177"/>
                  </a:lnTo>
                  <a:lnTo>
                    <a:pt x="0" y="209"/>
                  </a:lnTo>
                  <a:lnTo>
                    <a:pt x="34" y="192"/>
                  </a:lnTo>
                  <a:lnTo>
                    <a:pt x="69" y="192"/>
                  </a:lnTo>
                  <a:lnTo>
                    <a:pt x="121" y="209"/>
                  </a:lnTo>
                  <a:lnTo>
                    <a:pt x="138" y="209"/>
                  </a:lnTo>
                  <a:lnTo>
                    <a:pt x="155" y="209"/>
                  </a:lnTo>
                  <a:lnTo>
                    <a:pt x="172" y="209"/>
                  </a:lnTo>
                  <a:lnTo>
                    <a:pt x="207" y="209"/>
                  </a:lnTo>
                  <a:lnTo>
                    <a:pt x="224" y="177"/>
                  </a:lnTo>
                  <a:lnTo>
                    <a:pt x="241" y="177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1" name="Freeform 223">
              <a:extLst>
                <a:ext uri="{FF2B5EF4-FFF2-40B4-BE49-F238E27FC236}">
                  <a16:creationId xmlns:a16="http://schemas.microsoft.com/office/drawing/2014/main" id="{08158FFE-5441-4736-8555-BD0C186CBD71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5181599" y="3209926"/>
              <a:ext cx="150813" cy="87313"/>
            </a:xfrm>
            <a:custGeom>
              <a:avLst/>
              <a:gdLst>
                <a:gd name="T0" fmla="*/ 17463 w 190"/>
                <a:gd name="T1" fmla="*/ 0 h 111"/>
                <a:gd name="T2" fmla="*/ 17463 w 190"/>
                <a:gd name="T3" fmla="*/ 0 h 111"/>
                <a:gd name="T4" fmla="*/ 17463 w 190"/>
                <a:gd name="T5" fmla="*/ 9439 h 111"/>
                <a:gd name="T6" fmla="*/ 14288 w 190"/>
                <a:gd name="T7" fmla="*/ 9439 h 111"/>
                <a:gd name="T8" fmla="*/ 10319 w 190"/>
                <a:gd name="T9" fmla="*/ 9439 h 111"/>
                <a:gd name="T10" fmla="*/ 7144 w 190"/>
                <a:gd name="T11" fmla="*/ 2360 h 111"/>
                <a:gd name="T12" fmla="*/ 3969 w 190"/>
                <a:gd name="T13" fmla="*/ 5506 h 111"/>
                <a:gd name="T14" fmla="*/ 0 w 190"/>
                <a:gd name="T15" fmla="*/ 11799 h 111"/>
                <a:gd name="T16" fmla="*/ 0 w 190"/>
                <a:gd name="T17" fmla="*/ 18878 h 111"/>
                <a:gd name="T18" fmla="*/ 3969 w 190"/>
                <a:gd name="T19" fmla="*/ 14945 h 111"/>
                <a:gd name="T20" fmla="*/ 17463 w 190"/>
                <a:gd name="T21" fmla="*/ 14945 h 111"/>
                <a:gd name="T22" fmla="*/ 19844 w 190"/>
                <a:gd name="T23" fmla="*/ 14945 h 111"/>
                <a:gd name="T24" fmla="*/ 30956 w 190"/>
                <a:gd name="T25" fmla="*/ 21238 h 111"/>
                <a:gd name="T26" fmla="*/ 38100 w 190"/>
                <a:gd name="T27" fmla="*/ 14945 h 111"/>
                <a:gd name="T28" fmla="*/ 34925 w 190"/>
                <a:gd name="T29" fmla="*/ 9439 h 111"/>
                <a:gd name="T30" fmla="*/ 34925 w 190"/>
                <a:gd name="T31" fmla="*/ 5506 h 111"/>
                <a:gd name="T32" fmla="*/ 34925 w 190"/>
                <a:gd name="T33" fmla="*/ 2360 h 111"/>
                <a:gd name="T34" fmla="*/ 27781 w 190"/>
                <a:gd name="T35" fmla="*/ 2360 h 111"/>
                <a:gd name="T36" fmla="*/ 19844 w 190"/>
                <a:gd name="T37" fmla="*/ 0 h 111"/>
                <a:gd name="T38" fmla="*/ 17463 w 190"/>
                <a:gd name="T39" fmla="*/ 0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0"/>
                <a:gd name="T61" fmla="*/ 0 h 111"/>
                <a:gd name="T62" fmla="*/ 190 w 190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0" h="111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17" y="30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17" y="78"/>
                  </a:lnTo>
                  <a:lnTo>
                    <a:pt x="86" y="78"/>
                  </a:lnTo>
                  <a:lnTo>
                    <a:pt x="103" y="78"/>
                  </a:lnTo>
                  <a:lnTo>
                    <a:pt x="155" y="111"/>
                  </a:lnTo>
                  <a:lnTo>
                    <a:pt x="190" y="78"/>
                  </a:lnTo>
                  <a:lnTo>
                    <a:pt x="173" y="48"/>
                  </a:lnTo>
                  <a:lnTo>
                    <a:pt x="173" y="30"/>
                  </a:lnTo>
                  <a:lnTo>
                    <a:pt x="173" y="15"/>
                  </a:lnTo>
                  <a:lnTo>
                    <a:pt x="138" y="15"/>
                  </a:lnTo>
                  <a:lnTo>
                    <a:pt x="103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2" name="Freeform 224">
              <a:extLst>
                <a:ext uri="{FF2B5EF4-FFF2-40B4-BE49-F238E27FC236}">
                  <a16:creationId xmlns:a16="http://schemas.microsoft.com/office/drawing/2014/main" id="{9E76CACD-ED05-424F-A270-53729D0C4F09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5180012" y="3271838"/>
              <a:ext cx="123825" cy="90488"/>
            </a:xfrm>
            <a:custGeom>
              <a:avLst/>
              <a:gdLst>
                <a:gd name="T0" fmla="*/ 0 w 155"/>
                <a:gd name="T1" fmla="*/ 9609 h 113"/>
                <a:gd name="T2" fmla="*/ 0 w 155"/>
                <a:gd name="T3" fmla="*/ 9609 h 113"/>
                <a:gd name="T4" fmla="*/ 0 w 155"/>
                <a:gd name="T5" fmla="*/ 7207 h 113"/>
                <a:gd name="T6" fmla="*/ 0 w 155"/>
                <a:gd name="T7" fmla="*/ 4004 h 113"/>
                <a:gd name="T8" fmla="*/ 3994 w 155"/>
                <a:gd name="T9" fmla="*/ 0 h 113"/>
                <a:gd name="T10" fmla="*/ 17575 w 155"/>
                <a:gd name="T11" fmla="*/ 0 h 113"/>
                <a:gd name="T12" fmla="*/ 20771 w 155"/>
                <a:gd name="T13" fmla="*/ 0 h 113"/>
                <a:gd name="T14" fmla="*/ 31156 w 155"/>
                <a:gd name="T15" fmla="*/ 7207 h 113"/>
                <a:gd name="T16" fmla="*/ 31156 w 155"/>
                <a:gd name="T17" fmla="*/ 9609 h 113"/>
                <a:gd name="T18" fmla="*/ 24765 w 155"/>
                <a:gd name="T19" fmla="*/ 13613 h 113"/>
                <a:gd name="T20" fmla="*/ 24765 w 155"/>
                <a:gd name="T21" fmla="*/ 19219 h 113"/>
                <a:gd name="T22" fmla="*/ 20771 w 155"/>
                <a:gd name="T23" fmla="*/ 19219 h 113"/>
                <a:gd name="T24" fmla="*/ 14380 w 155"/>
                <a:gd name="T25" fmla="*/ 23223 h 113"/>
                <a:gd name="T26" fmla="*/ 10385 w 155"/>
                <a:gd name="T27" fmla="*/ 23223 h 113"/>
                <a:gd name="T28" fmla="*/ 7190 w 155"/>
                <a:gd name="T29" fmla="*/ 19219 h 113"/>
                <a:gd name="T30" fmla="*/ 7190 w 155"/>
                <a:gd name="T31" fmla="*/ 9609 h 113"/>
                <a:gd name="T32" fmla="*/ 0 w 155"/>
                <a:gd name="T33" fmla="*/ 9609 h 11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5"/>
                <a:gd name="T52" fmla="*/ 0 h 113"/>
                <a:gd name="T53" fmla="*/ 155 w 155"/>
                <a:gd name="T54" fmla="*/ 113 h 11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5" h="113">
                  <a:moveTo>
                    <a:pt x="0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86" y="0"/>
                  </a:lnTo>
                  <a:lnTo>
                    <a:pt x="103" y="0"/>
                  </a:lnTo>
                  <a:lnTo>
                    <a:pt x="155" y="33"/>
                  </a:lnTo>
                  <a:lnTo>
                    <a:pt x="155" y="48"/>
                  </a:lnTo>
                  <a:lnTo>
                    <a:pt x="121" y="66"/>
                  </a:lnTo>
                  <a:lnTo>
                    <a:pt x="121" y="96"/>
                  </a:lnTo>
                  <a:lnTo>
                    <a:pt x="103" y="96"/>
                  </a:lnTo>
                  <a:lnTo>
                    <a:pt x="69" y="113"/>
                  </a:lnTo>
                  <a:lnTo>
                    <a:pt x="52" y="113"/>
                  </a:lnTo>
                  <a:lnTo>
                    <a:pt x="34" y="96"/>
                  </a:lnTo>
                  <a:lnTo>
                    <a:pt x="34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3" name="Freeform 225">
              <a:extLst>
                <a:ext uri="{FF2B5EF4-FFF2-40B4-BE49-F238E27FC236}">
                  <a16:creationId xmlns:a16="http://schemas.microsoft.com/office/drawing/2014/main" id="{415380A8-D8A1-419E-A5B9-0D7B4CFBABE4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5237162" y="3157538"/>
              <a:ext cx="95250" cy="63500"/>
            </a:xfrm>
            <a:custGeom>
              <a:avLst/>
              <a:gdLst>
                <a:gd name="T0" fmla="*/ 3149 w 121"/>
                <a:gd name="T1" fmla="*/ 12543 h 81"/>
                <a:gd name="T2" fmla="*/ 3149 w 121"/>
                <a:gd name="T3" fmla="*/ 12543 h 81"/>
                <a:gd name="T4" fmla="*/ 0 w 121"/>
                <a:gd name="T5" fmla="*/ 9407 h 81"/>
                <a:gd name="T6" fmla="*/ 0 w 121"/>
                <a:gd name="T7" fmla="*/ 3136 h 81"/>
                <a:gd name="T8" fmla="*/ 3149 w 121"/>
                <a:gd name="T9" fmla="*/ 0 h 81"/>
                <a:gd name="T10" fmla="*/ 10233 w 121"/>
                <a:gd name="T11" fmla="*/ 0 h 81"/>
                <a:gd name="T12" fmla="*/ 23616 w 121"/>
                <a:gd name="T13" fmla="*/ 0 h 81"/>
                <a:gd name="T14" fmla="*/ 20467 w 121"/>
                <a:gd name="T15" fmla="*/ 3136 h 81"/>
                <a:gd name="T16" fmla="*/ 16531 w 121"/>
                <a:gd name="T17" fmla="*/ 3136 h 81"/>
                <a:gd name="T18" fmla="*/ 20467 w 121"/>
                <a:gd name="T19" fmla="*/ 12543 h 81"/>
                <a:gd name="T20" fmla="*/ 20467 w 121"/>
                <a:gd name="T21" fmla="*/ 15679 h 81"/>
                <a:gd name="T22" fmla="*/ 13382 w 121"/>
                <a:gd name="T23" fmla="*/ 15679 h 81"/>
                <a:gd name="T24" fmla="*/ 6298 w 121"/>
                <a:gd name="T25" fmla="*/ 12543 h 81"/>
                <a:gd name="T26" fmla="*/ 3149 w 121"/>
                <a:gd name="T27" fmla="*/ 12543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81"/>
                <a:gd name="T44" fmla="*/ 121 w 121"/>
                <a:gd name="T45" fmla="*/ 81 h 8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81">
                  <a:moveTo>
                    <a:pt x="17" y="66"/>
                  </a:moveTo>
                  <a:lnTo>
                    <a:pt x="17" y="66"/>
                  </a:lnTo>
                  <a:lnTo>
                    <a:pt x="0" y="48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04" y="18"/>
                  </a:lnTo>
                  <a:lnTo>
                    <a:pt x="86" y="18"/>
                  </a:lnTo>
                  <a:lnTo>
                    <a:pt x="104" y="66"/>
                  </a:lnTo>
                  <a:lnTo>
                    <a:pt x="104" y="81"/>
                  </a:lnTo>
                  <a:lnTo>
                    <a:pt x="69" y="81"/>
                  </a:lnTo>
                  <a:lnTo>
                    <a:pt x="34" y="66"/>
                  </a:lnTo>
                  <a:lnTo>
                    <a:pt x="17" y="6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4" name="Freeform 226">
              <a:extLst>
                <a:ext uri="{FF2B5EF4-FFF2-40B4-BE49-F238E27FC236}">
                  <a16:creationId xmlns:a16="http://schemas.microsoft.com/office/drawing/2014/main" id="{30A1C079-C74E-4C9B-8ADF-D4884282EFC6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5286374" y="3525838"/>
              <a:ext cx="82550" cy="88900"/>
            </a:xfrm>
            <a:custGeom>
              <a:avLst/>
              <a:gdLst>
                <a:gd name="T0" fmla="*/ 0 w 104"/>
                <a:gd name="T1" fmla="*/ 3204 h 111"/>
                <a:gd name="T2" fmla="*/ 0 w 104"/>
                <a:gd name="T3" fmla="*/ 3204 h 111"/>
                <a:gd name="T4" fmla="*/ 3969 w 104"/>
                <a:gd name="T5" fmla="*/ 3204 h 111"/>
                <a:gd name="T6" fmla="*/ 10319 w 104"/>
                <a:gd name="T7" fmla="*/ 12814 h 111"/>
                <a:gd name="T8" fmla="*/ 10319 w 104"/>
                <a:gd name="T9" fmla="*/ 22425 h 111"/>
                <a:gd name="T10" fmla="*/ 14288 w 104"/>
                <a:gd name="T11" fmla="*/ 16018 h 111"/>
                <a:gd name="T12" fmla="*/ 20638 w 104"/>
                <a:gd name="T13" fmla="*/ 16018 h 111"/>
                <a:gd name="T14" fmla="*/ 20638 w 104"/>
                <a:gd name="T15" fmla="*/ 12814 h 111"/>
                <a:gd name="T16" fmla="*/ 17463 w 104"/>
                <a:gd name="T17" fmla="*/ 6407 h 111"/>
                <a:gd name="T18" fmla="*/ 17463 w 104"/>
                <a:gd name="T19" fmla="*/ 3204 h 111"/>
                <a:gd name="T20" fmla="*/ 7144 w 104"/>
                <a:gd name="T21" fmla="*/ 0 h 111"/>
                <a:gd name="T22" fmla="*/ 0 w 104"/>
                <a:gd name="T23" fmla="*/ 3204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5" name="Freeform 227">
              <a:extLst>
                <a:ext uri="{FF2B5EF4-FFF2-40B4-BE49-F238E27FC236}">
                  <a16:creationId xmlns:a16="http://schemas.microsoft.com/office/drawing/2014/main" id="{4A3089D9-28B7-4E0B-A625-89640D8E46DC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5148262" y="3538538"/>
              <a:ext cx="207963" cy="139700"/>
            </a:xfrm>
            <a:custGeom>
              <a:avLst/>
              <a:gdLst>
                <a:gd name="T0" fmla="*/ 7171 w 261"/>
                <a:gd name="T1" fmla="*/ 25257 h 177"/>
                <a:gd name="T2" fmla="*/ 7171 w 261"/>
                <a:gd name="T3" fmla="*/ 25257 h 177"/>
                <a:gd name="T4" fmla="*/ 14342 w 261"/>
                <a:gd name="T5" fmla="*/ 25257 h 177"/>
                <a:gd name="T6" fmla="*/ 14342 w 261"/>
                <a:gd name="T7" fmla="*/ 28414 h 177"/>
                <a:gd name="T8" fmla="*/ 17529 w 261"/>
                <a:gd name="T9" fmla="*/ 31571 h 177"/>
                <a:gd name="T10" fmla="*/ 20717 w 261"/>
                <a:gd name="T11" fmla="*/ 31571 h 177"/>
                <a:gd name="T12" fmla="*/ 31075 w 261"/>
                <a:gd name="T13" fmla="*/ 34728 h 177"/>
                <a:gd name="T14" fmla="*/ 38246 w 261"/>
                <a:gd name="T15" fmla="*/ 28414 h 177"/>
                <a:gd name="T16" fmla="*/ 48604 w 261"/>
                <a:gd name="T17" fmla="*/ 31571 h 177"/>
                <a:gd name="T18" fmla="*/ 48604 w 261"/>
                <a:gd name="T19" fmla="*/ 28414 h 177"/>
                <a:gd name="T20" fmla="*/ 52588 w 261"/>
                <a:gd name="T21" fmla="*/ 25257 h 177"/>
                <a:gd name="T22" fmla="*/ 52588 w 261"/>
                <a:gd name="T23" fmla="*/ 22099 h 177"/>
                <a:gd name="T24" fmla="*/ 45417 w 261"/>
                <a:gd name="T25" fmla="*/ 22099 h 177"/>
                <a:gd name="T26" fmla="*/ 45417 w 261"/>
                <a:gd name="T27" fmla="*/ 18942 h 177"/>
                <a:gd name="T28" fmla="*/ 45417 w 261"/>
                <a:gd name="T29" fmla="*/ 9471 h 177"/>
                <a:gd name="T30" fmla="*/ 38246 w 261"/>
                <a:gd name="T31" fmla="*/ 0 h 177"/>
                <a:gd name="T32" fmla="*/ 35059 w 261"/>
                <a:gd name="T33" fmla="*/ 0 h 177"/>
                <a:gd name="T34" fmla="*/ 27888 w 261"/>
                <a:gd name="T35" fmla="*/ 3157 h 177"/>
                <a:gd name="T36" fmla="*/ 24701 w 261"/>
                <a:gd name="T37" fmla="*/ 3157 h 177"/>
                <a:gd name="T38" fmla="*/ 14342 w 261"/>
                <a:gd name="T39" fmla="*/ 3157 h 177"/>
                <a:gd name="T40" fmla="*/ 10358 w 261"/>
                <a:gd name="T41" fmla="*/ 3157 h 177"/>
                <a:gd name="T42" fmla="*/ 7171 w 261"/>
                <a:gd name="T43" fmla="*/ 15785 h 177"/>
                <a:gd name="T44" fmla="*/ 0 w 261"/>
                <a:gd name="T45" fmla="*/ 15785 h 177"/>
                <a:gd name="T46" fmla="*/ 7171 w 261"/>
                <a:gd name="T47" fmla="*/ 25257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6" name="Freeform 228">
              <a:extLst>
                <a:ext uri="{FF2B5EF4-FFF2-40B4-BE49-F238E27FC236}">
                  <a16:creationId xmlns:a16="http://schemas.microsoft.com/office/drawing/2014/main" id="{C2E83010-609E-4F28-8201-857F641D4A97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5148262" y="3729038"/>
              <a:ext cx="138113" cy="101600"/>
            </a:xfrm>
            <a:custGeom>
              <a:avLst/>
              <a:gdLst>
                <a:gd name="T0" fmla="*/ 6314 w 175"/>
                <a:gd name="T1" fmla="*/ 3175 h 128"/>
                <a:gd name="T2" fmla="*/ 6314 w 175"/>
                <a:gd name="T3" fmla="*/ 3175 h 128"/>
                <a:gd name="T4" fmla="*/ 17363 w 175"/>
                <a:gd name="T5" fmla="*/ 0 h 128"/>
                <a:gd name="T6" fmla="*/ 23677 w 175"/>
                <a:gd name="T7" fmla="*/ 0 h 128"/>
                <a:gd name="T8" fmla="*/ 30779 w 175"/>
                <a:gd name="T9" fmla="*/ 3175 h 128"/>
                <a:gd name="T10" fmla="*/ 33936 w 175"/>
                <a:gd name="T11" fmla="*/ 0 h 128"/>
                <a:gd name="T12" fmla="*/ 30779 w 175"/>
                <a:gd name="T13" fmla="*/ 6350 h 128"/>
                <a:gd name="T14" fmla="*/ 23677 w 175"/>
                <a:gd name="T15" fmla="*/ 3175 h 128"/>
                <a:gd name="T16" fmla="*/ 20520 w 175"/>
                <a:gd name="T17" fmla="*/ 6350 h 128"/>
                <a:gd name="T18" fmla="*/ 20520 w 175"/>
                <a:gd name="T19" fmla="*/ 9525 h 128"/>
                <a:gd name="T20" fmla="*/ 17363 w 175"/>
                <a:gd name="T21" fmla="*/ 9525 h 128"/>
                <a:gd name="T22" fmla="*/ 13417 w 175"/>
                <a:gd name="T23" fmla="*/ 6350 h 128"/>
                <a:gd name="T24" fmla="*/ 13417 w 175"/>
                <a:gd name="T25" fmla="*/ 9525 h 128"/>
                <a:gd name="T26" fmla="*/ 17363 w 175"/>
                <a:gd name="T27" fmla="*/ 15875 h 128"/>
                <a:gd name="T28" fmla="*/ 23677 w 175"/>
                <a:gd name="T29" fmla="*/ 22225 h 128"/>
                <a:gd name="T30" fmla="*/ 20520 w 175"/>
                <a:gd name="T31" fmla="*/ 22225 h 128"/>
                <a:gd name="T32" fmla="*/ 20520 w 175"/>
                <a:gd name="T33" fmla="*/ 25400 h 128"/>
                <a:gd name="T34" fmla="*/ 13417 w 175"/>
                <a:gd name="T35" fmla="*/ 22225 h 128"/>
                <a:gd name="T36" fmla="*/ 6314 w 175"/>
                <a:gd name="T37" fmla="*/ 22225 h 128"/>
                <a:gd name="T38" fmla="*/ 0 w 175"/>
                <a:gd name="T39" fmla="*/ 12700 h 128"/>
                <a:gd name="T40" fmla="*/ 6314 w 175"/>
                <a:gd name="T41" fmla="*/ 6350 h 128"/>
                <a:gd name="T42" fmla="*/ 6314 w 175"/>
                <a:gd name="T43" fmla="*/ 3175 h 12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5"/>
                <a:gd name="T67" fmla="*/ 0 h 128"/>
                <a:gd name="T68" fmla="*/ 175 w 175"/>
                <a:gd name="T69" fmla="*/ 128 h 12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5" h="128">
                  <a:moveTo>
                    <a:pt x="35" y="17"/>
                  </a:moveTo>
                  <a:lnTo>
                    <a:pt x="35" y="17"/>
                  </a:lnTo>
                  <a:lnTo>
                    <a:pt x="89" y="0"/>
                  </a:lnTo>
                  <a:lnTo>
                    <a:pt x="123" y="0"/>
                  </a:lnTo>
                  <a:lnTo>
                    <a:pt x="158" y="17"/>
                  </a:lnTo>
                  <a:lnTo>
                    <a:pt x="175" y="0"/>
                  </a:lnTo>
                  <a:lnTo>
                    <a:pt x="158" y="33"/>
                  </a:lnTo>
                  <a:lnTo>
                    <a:pt x="123" y="17"/>
                  </a:lnTo>
                  <a:lnTo>
                    <a:pt x="106" y="33"/>
                  </a:lnTo>
                  <a:lnTo>
                    <a:pt x="106" y="48"/>
                  </a:lnTo>
                  <a:lnTo>
                    <a:pt x="89" y="48"/>
                  </a:lnTo>
                  <a:lnTo>
                    <a:pt x="69" y="33"/>
                  </a:lnTo>
                  <a:lnTo>
                    <a:pt x="69" y="48"/>
                  </a:lnTo>
                  <a:lnTo>
                    <a:pt x="89" y="81"/>
                  </a:lnTo>
                  <a:lnTo>
                    <a:pt x="123" y="113"/>
                  </a:lnTo>
                  <a:lnTo>
                    <a:pt x="106" y="113"/>
                  </a:lnTo>
                  <a:lnTo>
                    <a:pt x="106" y="128"/>
                  </a:lnTo>
                  <a:lnTo>
                    <a:pt x="69" y="113"/>
                  </a:lnTo>
                  <a:lnTo>
                    <a:pt x="35" y="113"/>
                  </a:lnTo>
                  <a:lnTo>
                    <a:pt x="0" y="65"/>
                  </a:lnTo>
                  <a:lnTo>
                    <a:pt x="35" y="33"/>
                  </a:lnTo>
                  <a:lnTo>
                    <a:pt x="35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7" name="Freeform 229">
              <a:extLst>
                <a:ext uri="{FF2B5EF4-FFF2-40B4-BE49-F238E27FC236}">
                  <a16:creationId xmlns:a16="http://schemas.microsoft.com/office/drawing/2014/main" id="{06F554FC-EDBF-42CE-97B8-E78788845A56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5205412" y="3652838"/>
              <a:ext cx="136525" cy="90488"/>
            </a:xfrm>
            <a:custGeom>
              <a:avLst/>
              <a:gdLst>
                <a:gd name="T0" fmla="*/ 33934 w 173"/>
                <a:gd name="T1" fmla="*/ 4004 h 113"/>
                <a:gd name="T2" fmla="*/ 33934 w 173"/>
                <a:gd name="T3" fmla="*/ 4004 h 113"/>
                <a:gd name="T4" fmla="*/ 33934 w 173"/>
                <a:gd name="T5" fmla="*/ 7207 h 113"/>
                <a:gd name="T6" fmla="*/ 30777 w 173"/>
                <a:gd name="T7" fmla="*/ 7207 h 113"/>
                <a:gd name="T8" fmla="*/ 26832 w 173"/>
                <a:gd name="T9" fmla="*/ 13613 h 113"/>
                <a:gd name="T10" fmla="*/ 30777 w 173"/>
                <a:gd name="T11" fmla="*/ 16816 h 113"/>
                <a:gd name="T12" fmla="*/ 23675 w 173"/>
                <a:gd name="T13" fmla="*/ 16816 h 113"/>
                <a:gd name="T14" fmla="*/ 20518 w 173"/>
                <a:gd name="T15" fmla="*/ 19219 h 113"/>
                <a:gd name="T16" fmla="*/ 16572 w 173"/>
                <a:gd name="T17" fmla="*/ 23223 h 113"/>
                <a:gd name="T18" fmla="*/ 10259 w 173"/>
                <a:gd name="T19" fmla="*/ 19219 h 113"/>
                <a:gd name="T20" fmla="*/ 3157 w 173"/>
                <a:gd name="T21" fmla="*/ 19219 h 113"/>
                <a:gd name="T22" fmla="*/ 3157 w 173"/>
                <a:gd name="T23" fmla="*/ 16816 h 113"/>
                <a:gd name="T24" fmla="*/ 0 w 173"/>
                <a:gd name="T25" fmla="*/ 13613 h 113"/>
                <a:gd name="T26" fmla="*/ 3157 w 173"/>
                <a:gd name="T27" fmla="*/ 9609 h 113"/>
                <a:gd name="T28" fmla="*/ 0 w 173"/>
                <a:gd name="T29" fmla="*/ 4004 h 113"/>
                <a:gd name="T30" fmla="*/ 0 w 173"/>
                <a:gd name="T31" fmla="*/ 0 h 113"/>
                <a:gd name="T32" fmla="*/ 3157 w 173"/>
                <a:gd name="T33" fmla="*/ 4004 h 113"/>
                <a:gd name="T34" fmla="*/ 6313 w 173"/>
                <a:gd name="T35" fmla="*/ 4004 h 113"/>
                <a:gd name="T36" fmla="*/ 16572 w 173"/>
                <a:gd name="T37" fmla="*/ 7207 h 113"/>
                <a:gd name="T38" fmla="*/ 23675 w 173"/>
                <a:gd name="T39" fmla="*/ 0 h 113"/>
                <a:gd name="T40" fmla="*/ 33934 w 173"/>
                <a:gd name="T41" fmla="*/ 4004 h 1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73"/>
                <a:gd name="T64" fmla="*/ 0 h 113"/>
                <a:gd name="T65" fmla="*/ 173 w 173"/>
                <a:gd name="T66" fmla="*/ 113 h 1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73" h="113">
                  <a:moveTo>
                    <a:pt x="173" y="17"/>
                  </a:moveTo>
                  <a:lnTo>
                    <a:pt x="173" y="17"/>
                  </a:lnTo>
                  <a:lnTo>
                    <a:pt x="173" y="33"/>
                  </a:lnTo>
                  <a:lnTo>
                    <a:pt x="156" y="33"/>
                  </a:lnTo>
                  <a:lnTo>
                    <a:pt x="139" y="65"/>
                  </a:lnTo>
                  <a:lnTo>
                    <a:pt x="156" y="81"/>
                  </a:lnTo>
                  <a:lnTo>
                    <a:pt x="121" y="81"/>
                  </a:lnTo>
                  <a:lnTo>
                    <a:pt x="104" y="96"/>
                  </a:lnTo>
                  <a:lnTo>
                    <a:pt x="87" y="113"/>
                  </a:lnTo>
                  <a:lnTo>
                    <a:pt x="52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0" y="65"/>
                  </a:lnTo>
                  <a:lnTo>
                    <a:pt x="18" y="48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8" y="17"/>
                  </a:lnTo>
                  <a:lnTo>
                    <a:pt x="35" y="17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73" y="1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8" name="Freeform 230">
              <a:extLst>
                <a:ext uri="{FF2B5EF4-FFF2-40B4-BE49-F238E27FC236}">
                  <a16:creationId xmlns:a16="http://schemas.microsoft.com/office/drawing/2014/main" id="{6BE26A96-DF3E-4594-A015-BD5048EB3A0D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5024437" y="3324226"/>
              <a:ext cx="206375" cy="190500"/>
            </a:xfrm>
            <a:custGeom>
              <a:avLst/>
              <a:gdLst>
                <a:gd name="T0" fmla="*/ 44622 w 259"/>
                <a:gd name="T1" fmla="*/ 47824 h 239"/>
                <a:gd name="T2" fmla="*/ 44622 w 259"/>
                <a:gd name="T3" fmla="*/ 47824 h 239"/>
                <a:gd name="T4" fmla="*/ 48606 w 259"/>
                <a:gd name="T5" fmla="*/ 41448 h 239"/>
                <a:gd name="T6" fmla="*/ 51793 w 259"/>
                <a:gd name="T7" fmla="*/ 38259 h 239"/>
                <a:gd name="T8" fmla="*/ 48606 w 259"/>
                <a:gd name="T9" fmla="*/ 28695 h 239"/>
                <a:gd name="T10" fmla="*/ 48606 w 259"/>
                <a:gd name="T11" fmla="*/ 22318 h 239"/>
                <a:gd name="T12" fmla="*/ 51793 w 259"/>
                <a:gd name="T13" fmla="*/ 15941 h 239"/>
                <a:gd name="T14" fmla="*/ 48606 w 259"/>
                <a:gd name="T15" fmla="*/ 9565 h 239"/>
                <a:gd name="T16" fmla="*/ 44622 w 259"/>
                <a:gd name="T17" fmla="*/ 6377 h 239"/>
                <a:gd name="T18" fmla="*/ 38247 w 259"/>
                <a:gd name="T19" fmla="*/ 6377 h 239"/>
                <a:gd name="T20" fmla="*/ 27889 w 259"/>
                <a:gd name="T21" fmla="*/ 3188 h 239"/>
                <a:gd name="T22" fmla="*/ 27889 w 259"/>
                <a:gd name="T23" fmla="*/ 6377 h 239"/>
                <a:gd name="T24" fmla="*/ 24701 w 259"/>
                <a:gd name="T25" fmla="*/ 6377 h 239"/>
                <a:gd name="T26" fmla="*/ 20717 w 259"/>
                <a:gd name="T27" fmla="*/ 0 h 239"/>
                <a:gd name="T28" fmla="*/ 0 w 259"/>
                <a:gd name="T29" fmla="*/ 9565 h 239"/>
                <a:gd name="T30" fmla="*/ 3984 w 259"/>
                <a:gd name="T31" fmla="*/ 35071 h 239"/>
                <a:gd name="T32" fmla="*/ 3984 w 259"/>
                <a:gd name="T33" fmla="*/ 31883 h 239"/>
                <a:gd name="T34" fmla="*/ 7171 w 259"/>
                <a:gd name="T35" fmla="*/ 35071 h 239"/>
                <a:gd name="T36" fmla="*/ 14343 w 259"/>
                <a:gd name="T37" fmla="*/ 38259 h 239"/>
                <a:gd name="T38" fmla="*/ 17530 w 259"/>
                <a:gd name="T39" fmla="*/ 38259 h 239"/>
                <a:gd name="T40" fmla="*/ 24701 w 259"/>
                <a:gd name="T41" fmla="*/ 44636 h 239"/>
                <a:gd name="T42" fmla="*/ 27889 w 259"/>
                <a:gd name="T43" fmla="*/ 44636 h 239"/>
                <a:gd name="T44" fmla="*/ 31076 w 259"/>
                <a:gd name="T45" fmla="*/ 47824 h 239"/>
                <a:gd name="T46" fmla="*/ 38247 w 259"/>
                <a:gd name="T47" fmla="*/ 44636 h 239"/>
                <a:gd name="T48" fmla="*/ 44622 w 259"/>
                <a:gd name="T49" fmla="*/ 47824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9"/>
                <a:gd name="T76" fmla="*/ 0 h 239"/>
                <a:gd name="T77" fmla="*/ 259 w 259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9" h="239">
                  <a:moveTo>
                    <a:pt x="224" y="239"/>
                  </a:moveTo>
                  <a:lnTo>
                    <a:pt x="224" y="239"/>
                  </a:lnTo>
                  <a:lnTo>
                    <a:pt x="242" y="207"/>
                  </a:lnTo>
                  <a:lnTo>
                    <a:pt x="259" y="191"/>
                  </a:lnTo>
                  <a:lnTo>
                    <a:pt x="242" y="143"/>
                  </a:lnTo>
                  <a:lnTo>
                    <a:pt x="242" y="111"/>
                  </a:lnTo>
                  <a:lnTo>
                    <a:pt x="259" y="78"/>
                  </a:lnTo>
                  <a:lnTo>
                    <a:pt x="242" y="47"/>
                  </a:lnTo>
                  <a:lnTo>
                    <a:pt x="224" y="30"/>
                  </a:lnTo>
                  <a:lnTo>
                    <a:pt x="190" y="30"/>
                  </a:lnTo>
                  <a:lnTo>
                    <a:pt x="138" y="15"/>
                  </a:lnTo>
                  <a:lnTo>
                    <a:pt x="138" y="30"/>
                  </a:lnTo>
                  <a:lnTo>
                    <a:pt x="121" y="30"/>
                  </a:lnTo>
                  <a:lnTo>
                    <a:pt x="103" y="0"/>
                  </a:lnTo>
                  <a:lnTo>
                    <a:pt x="0" y="47"/>
                  </a:lnTo>
                  <a:lnTo>
                    <a:pt x="17" y="174"/>
                  </a:lnTo>
                  <a:lnTo>
                    <a:pt x="17" y="159"/>
                  </a:lnTo>
                  <a:lnTo>
                    <a:pt x="34" y="174"/>
                  </a:lnTo>
                  <a:lnTo>
                    <a:pt x="69" y="191"/>
                  </a:lnTo>
                  <a:lnTo>
                    <a:pt x="86" y="191"/>
                  </a:lnTo>
                  <a:lnTo>
                    <a:pt x="121" y="222"/>
                  </a:lnTo>
                  <a:lnTo>
                    <a:pt x="138" y="222"/>
                  </a:lnTo>
                  <a:lnTo>
                    <a:pt x="155" y="239"/>
                  </a:lnTo>
                  <a:lnTo>
                    <a:pt x="190" y="222"/>
                  </a:lnTo>
                  <a:lnTo>
                    <a:pt x="224" y="239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69" name="Freeform 231">
              <a:extLst>
                <a:ext uri="{FF2B5EF4-FFF2-40B4-BE49-F238E27FC236}">
                  <a16:creationId xmlns:a16="http://schemas.microsoft.com/office/drawing/2014/main" id="{0AD74B26-BD8E-41B7-8CED-4ED7AF343022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135562" y="3705226"/>
              <a:ext cx="41275" cy="76200"/>
            </a:xfrm>
            <a:custGeom>
              <a:avLst/>
              <a:gdLst>
                <a:gd name="T0" fmla="*/ 0 w 52"/>
                <a:gd name="T1" fmla="*/ 0 h 96"/>
                <a:gd name="T2" fmla="*/ 0 w 52"/>
                <a:gd name="T3" fmla="*/ 0 h 96"/>
                <a:gd name="T4" fmla="*/ 3969 w 52"/>
                <a:gd name="T5" fmla="*/ 0 h 96"/>
                <a:gd name="T6" fmla="*/ 7144 w 52"/>
                <a:gd name="T7" fmla="*/ 3175 h 96"/>
                <a:gd name="T8" fmla="*/ 7144 w 52"/>
                <a:gd name="T9" fmla="*/ 5556 h 96"/>
                <a:gd name="T10" fmla="*/ 10319 w 52"/>
                <a:gd name="T11" fmla="*/ 9525 h 96"/>
                <a:gd name="T12" fmla="*/ 10319 w 52"/>
                <a:gd name="T13" fmla="*/ 12700 h 96"/>
                <a:gd name="T14" fmla="*/ 3969 w 52"/>
                <a:gd name="T15" fmla="*/ 19050 h 96"/>
                <a:gd name="T16" fmla="*/ 0 w 52"/>
                <a:gd name="T17" fmla="*/ 15875 h 96"/>
                <a:gd name="T18" fmla="*/ 0 w 52"/>
                <a:gd name="T19" fmla="*/ 5556 h 96"/>
                <a:gd name="T20" fmla="*/ 0 w 52"/>
                <a:gd name="T21" fmla="*/ 3175 h 96"/>
                <a:gd name="T22" fmla="*/ 0 w 5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96"/>
                <a:gd name="T38" fmla="*/ 52 w 5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96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52" y="48"/>
                  </a:lnTo>
                  <a:lnTo>
                    <a:pt x="52" y="64"/>
                  </a:lnTo>
                  <a:lnTo>
                    <a:pt x="17" y="96"/>
                  </a:lnTo>
                  <a:lnTo>
                    <a:pt x="0" y="79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0" name="Freeform 232">
              <a:extLst>
                <a:ext uri="{FF2B5EF4-FFF2-40B4-BE49-F238E27FC236}">
                  <a16:creationId xmlns:a16="http://schemas.microsoft.com/office/drawing/2014/main" id="{84F770D1-2735-4F64-A937-DBD62ED7FE05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065712" y="3525838"/>
              <a:ext cx="139700" cy="88900"/>
            </a:xfrm>
            <a:custGeom>
              <a:avLst/>
              <a:gdLst>
                <a:gd name="T0" fmla="*/ 14452 w 174"/>
                <a:gd name="T1" fmla="*/ 22425 h 111"/>
                <a:gd name="T2" fmla="*/ 14452 w 174"/>
                <a:gd name="T3" fmla="*/ 22425 h 111"/>
                <a:gd name="T4" fmla="*/ 20875 w 174"/>
                <a:gd name="T5" fmla="*/ 19222 h 111"/>
                <a:gd name="T6" fmla="*/ 28903 w 174"/>
                <a:gd name="T7" fmla="*/ 19222 h 111"/>
                <a:gd name="T8" fmla="*/ 32115 w 174"/>
                <a:gd name="T9" fmla="*/ 6407 h 111"/>
                <a:gd name="T10" fmla="*/ 36129 w 174"/>
                <a:gd name="T11" fmla="*/ 6407 h 111"/>
                <a:gd name="T12" fmla="*/ 32115 w 174"/>
                <a:gd name="T13" fmla="*/ 3204 h 111"/>
                <a:gd name="T14" fmla="*/ 24889 w 174"/>
                <a:gd name="T15" fmla="*/ 0 h 111"/>
                <a:gd name="T16" fmla="*/ 10437 w 174"/>
                <a:gd name="T17" fmla="*/ 6407 h 111"/>
                <a:gd name="T18" fmla="*/ 4014 w 174"/>
                <a:gd name="T19" fmla="*/ 6407 h 111"/>
                <a:gd name="T20" fmla="*/ 0 w 174"/>
                <a:gd name="T21" fmla="*/ 12814 h 111"/>
                <a:gd name="T22" fmla="*/ 0 w 174"/>
                <a:gd name="T23" fmla="*/ 16018 h 111"/>
                <a:gd name="T24" fmla="*/ 10437 w 174"/>
                <a:gd name="T25" fmla="*/ 22425 h 111"/>
                <a:gd name="T26" fmla="*/ 14452 w 174"/>
                <a:gd name="T27" fmla="*/ 22425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4"/>
                <a:gd name="T43" fmla="*/ 0 h 111"/>
                <a:gd name="T44" fmla="*/ 174 w 174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4" h="111">
                  <a:moveTo>
                    <a:pt x="69" y="111"/>
                  </a:moveTo>
                  <a:lnTo>
                    <a:pt x="69" y="111"/>
                  </a:lnTo>
                  <a:lnTo>
                    <a:pt x="103" y="96"/>
                  </a:lnTo>
                  <a:lnTo>
                    <a:pt x="140" y="96"/>
                  </a:lnTo>
                  <a:lnTo>
                    <a:pt x="157" y="32"/>
                  </a:lnTo>
                  <a:lnTo>
                    <a:pt x="174" y="32"/>
                  </a:lnTo>
                  <a:lnTo>
                    <a:pt x="157" y="15"/>
                  </a:lnTo>
                  <a:lnTo>
                    <a:pt x="121" y="0"/>
                  </a:lnTo>
                  <a:lnTo>
                    <a:pt x="51" y="32"/>
                  </a:lnTo>
                  <a:lnTo>
                    <a:pt x="17" y="32"/>
                  </a:lnTo>
                  <a:lnTo>
                    <a:pt x="0" y="63"/>
                  </a:lnTo>
                  <a:lnTo>
                    <a:pt x="0" y="80"/>
                  </a:lnTo>
                  <a:lnTo>
                    <a:pt x="51" y="111"/>
                  </a:lnTo>
                  <a:lnTo>
                    <a:pt x="69" y="11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1" name="Freeform 233">
              <a:extLst>
                <a:ext uri="{FF2B5EF4-FFF2-40B4-BE49-F238E27FC236}">
                  <a16:creationId xmlns:a16="http://schemas.microsoft.com/office/drawing/2014/main" id="{889953B0-1424-4B3B-A35A-DD3851729247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054599" y="3614738"/>
              <a:ext cx="80963" cy="76200"/>
            </a:xfrm>
            <a:custGeom>
              <a:avLst/>
              <a:gdLst>
                <a:gd name="T0" fmla="*/ 16348 w 104"/>
                <a:gd name="T1" fmla="*/ 19050 h 96"/>
                <a:gd name="T2" fmla="*/ 16348 w 104"/>
                <a:gd name="T3" fmla="*/ 19050 h 96"/>
                <a:gd name="T4" fmla="*/ 13234 w 104"/>
                <a:gd name="T5" fmla="*/ 19050 h 96"/>
                <a:gd name="T6" fmla="*/ 16348 w 104"/>
                <a:gd name="T7" fmla="*/ 16669 h 96"/>
                <a:gd name="T8" fmla="*/ 19462 w 104"/>
                <a:gd name="T9" fmla="*/ 16669 h 96"/>
                <a:gd name="T10" fmla="*/ 19462 w 104"/>
                <a:gd name="T11" fmla="*/ 13494 h 96"/>
                <a:gd name="T12" fmla="*/ 19462 w 104"/>
                <a:gd name="T13" fmla="*/ 9525 h 96"/>
                <a:gd name="T14" fmla="*/ 19462 w 104"/>
                <a:gd name="T15" fmla="*/ 7144 h 96"/>
                <a:gd name="T16" fmla="*/ 16348 w 104"/>
                <a:gd name="T17" fmla="*/ 7144 h 96"/>
                <a:gd name="T18" fmla="*/ 16348 w 104"/>
                <a:gd name="T19" fmla="*/ 3969 h 96"/>
                <a:gd name="T20" fmla="*/ 6228 w 104"/>
                <a:gd name="T21" fmla="*/ 0 h 96"/>
                <a:gd name="T22" fmla="*/ 3114 w 104"/>
                <a:gd name="T23" fmla="*/ 3969 h 96"/>
                <a:gd name="T24" fmla="*/ 3114 w 104"/>
                <a:gd name="T25" fmla="*/ 0 h 96"/>
                <a:gd name="T26" fmla="*/ 0 w 104"/>
                <a:gd name="T27" fmla="*/ 3969 h 96"/>
                <a:gd name="T28" fmla="*/ 3114 w 104"/>
                <a:gd name="T29" fmla="*/ 7144 h 96"/>
                <a:gd name="T30" fmla="*/ 10120 w 104"/>
                <a:gd name="T31" fmla="*/ 16669 h 96"/>
                <a:gd name="T32" fmla="*/ 16348 w 104"/>
                <a:gd name="T33" fmla="*/ 19050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96"/>
                <a:gd name="T53" fmla="*/ 104 w 104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96">
                  <a:moveTo>
                    <a:pt x="87" y="96"/>
                  </a:moveTo>
                  <a:lnTo>
                    <a:pt x="87" y="96"/>
                  </a:lnTo>
                  <a:lnTo>
                    <a:pt x="69" y="96"/>
                  </a:lnTo>
                  <a:lnTo>
                    <a:pt x="87" y="81"/>
                  </a:lnTo>
                  <a:lnTo>
                    <a:pt x="104" y="81"/>
                  </a:lnTo>
                  <a:lnTo>
                    <a:pt x="104" y="65"/>
                  </a:lnTo>
                  <a:lnTo>
                    <a:pt x="104" y="48"/>
                  </a:lnTo>
                  <a:lnTo>
                    <a:pt x="104" y="33"/>
                  </a:lnTo>
                  <a:lnTo>
                    <a:pt x="87" y="33"/>
                  </a:lnTo>
                  <a:lnTo>
                    <a:pt x="87" y="17"/>
                  </a:lnTo>
                  <a:lnTo>
                    <a:pt x="35" y="0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18" y="33"/>
                  </a:lnTo>
                  <a:lnTo>
                    <a:pt x="52" y="81"/>
                  </a:lnTo>
                  <a:lnTo>
                    <a:pt x="87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2" name="Freeform 234">
              <a:extLst>
                <a:ext uri="{FF2B5EF4-FFF2-40B4-BE49-F238E27FC236}">
                  <a16:creationId xmlns:a16="http://schemas.microsoft.com/office/drawing/2014/main" id="{369D90A4-E06A-4E17-AAFC-E65AED5CCBCA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5122862" y="3602038"/>
              <a:ext cx="95250" cy="114300"/>
            </a:xfrm>
            <a:custGeom>
              <a:avLst/>
              <a:gdLst>
                <a:gd name="T0" fmla="*/ 3149 w 121"/>
                <a:gd name="T1" fmla="*/ 9525 h 144"/>
                <a:gd name="T2" fmla="*/ 3149 w 121"/>
                <a:gd name="T3" fmla="*/ 9525 h 144"/>
                <a:gd name="T4" fmla="*/ 3149 w 121"/>
                <a:gd name="T5" fmla="*/ 6350 h 144"/>
                <a:gd name="T6" fmla="*/ 0 w 121"/>
                <a:gd name="T7" fmla="*/ 2381 h 144"/>
                <a:gd name="T8" fmla="*/ 6298 w 121"/>
                <a:gd name="T9" fmla="*/ 0 h 144"/>
                <a:gd name="T10" fmla="*/ 13382 w 121"/>
                <a:gd name="T11" fmla="*/ 9525 h 144"/>
                <a:gd name="T12" fmla="*/ 19680 w 121"/>
                <a:gd name="T13" fmla="*/ 9525 h 144"/>
                <a:gd name="T14" fmla="*/ 19680 w 121"/>
                <a:gd name="T15" fmla="*/ 11906 h 144"/>
                <a:gd name="T16" fmla="*/ 19680 w 121"/>
                <a:gd name="T17" fmla="*/ 15875 h 144"/>
                <a:gd name="T18" fmla="*/ 23616 w 121"/>
                <a:gd name="T19" fmla="*/ 21431 h 144"/>
                <a:gd name="T20" fmla="*/ 19680 w 121"/>
                <a:gd name="T21" fmla="*/ 25400 h 144"/>
                <a:gd name="T22" fmla="*/ 13382 w 121"/>
                <a:gd name="T23" fmla="*/ 25400 h 144"/>
                <a:gd name="T24" fmla="*/ 9446 w 121"/>
                <a:gd name="T25" fmla="*/ 28575 h 144"/>
                <a:gd name="T26" fmla="*/ 6298 w 121"/>
                <a:gd name="T27" fmla="*/ 25400 h 144"/>
                <a:gd name="T28" fmla="*/ 6298 w 121"/>
                <a:gd name="T29" fmla="*/ 21431 h 144"/>
                <a:gd name="T30" fmla="*/ 3149 w 121"/>
                <a:gd name="T31" fmla="*/ 19050 h 144"/>
                <a:gd name="T32" fmla="*/ 3149 w 121"/>
                <a:gd name="T33" fmla="*/ 15875 h 144"/>
                <a:gd name="T34" fmla="*/ 3149 w 121"/>
                <a:gd name="T35" fmla="*/ 11906 h 144"/>
                <a:gd name="T36" fmla="*/ 3149 w 121"/>
                <a:gd name="T37" fmla="*/ 9525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44"/>
                <a:gd name="T59" fmla="*/ 121 w 121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44">
                  <a:moveTo>
                    <a:pt x="17" y="48"/>
                  </a:moveTo>
                  <a:lnTo>
                    <a:pt x="17" y="48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34" y="0"/>
                  </a:lnTo>
                  <a:lnTo>
                    <a:pt x="69" y="48"/>
                  </a:lnTo>
                  <a:lnTo>
                    <a:pt x="103" y="48"/>
                  </a:lnTo>
                  <a:lnTo>
                    <a:pt x="103" y="63"/>
                  </a:lnTo>
                  <a:lnTo>
                    <a:pt x="103" y="80"/>
                  </a:lnTo>
                  <a:lnTo>
                    <a:pt x="121" y="111"/>
                  </a:lnTo>
                  <a:lnTo>
                    <a:pt x="103" y="128"/>
                  </a:lnTo>
                  <a:lnTo>
                    <a:pt x="69" y="128"/>
                  </a:lnTo>
                  <a:lnTo>
                    <a:pt x="51" y="144"/>
                  </a:lnTo>
                  <a:lnTo>
                    <a:pt x="34" y="128"/>
                  </a:lnTo>
                  <a:lnTo>
                    <a:pt x="34" y="111"/>
                  </a:lnTo>
                  <a:lnTo>
                    <a:pt x="17" y="96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3" name="Freeform 235">
              <a:extLst>
                <a:ext uri="{FF2B5EF4-FFF2-40B4-BE49-F238E27FC236}">
                  <a16:creationId xmlns:a16="http://schemas.microsoft.com/office/drawing/2014/main" id="{728F74D6-C825-4A87-8C54-2AEB65A415C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5164137" y="3705226"/>
              <a:ext cx="53975" cy="38100"/>
            </a:xfrm>
            <a:custGeom>
              <a:avLst/>
              <a:gdLst>
                <a:gd name="T0" fmla="*/ 3084 w 70"/>
                <a:gd name="T1" fmla="*/ 9525 h 48"/>
                <a:gd name="T2" fmla="*/ 3084 w 70"/>
                <a:gd name="T3" fmla="*/ 9525 h 48"/>
                <a:gd name="T4" fmla="*/ 0 w 70"/>
                <a:gd name="T5" fmla="*/ 5556 h 48"/>
                <a:gd name="T6" fmla="*/ 0 w 70"/>
                <a:gd name="T7" fmla="*/ 3175 h 48"/>
                <a:gd name="T8" fmla="*/ 3084 w 70"/>
                <a:gd name="T9" fmla="*/ 0 h 48"/>
                <a:gd name="T10" fmla="*/ 9253 w 70"/>
                <a:gd name="T11" fmla="*/ 0 h 48"/>
                <a:gd name="T12" fmla="*/ 13108 w 70"/>
                <a:gd name="T13" fmla="*/ 3175 h 48"/>
                <a:gd name="T14" fmla="*/ 13108 w 70"/>
                <a:gd name="T15" fmla="*/ 5556 h 48"/>
                <a:gd name="T16" fmla="*/ 3084 w 70"/>
                <a:gd name="T17" fmla="*/ 9525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"/>
                <a:gd name="T28" fmla="*/ 0 h 48"/>
                <a:gd name="T29" fmla="*/ 70 w 70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" h="48">
                  <a:moveTo>
                    <a:pt x="18" y="48"/>
                  </a:moveTo>
                  <a:lnTo>
                    <a:pt x="18" y="48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18" y="0"/>
                  </a:lnTo>
                  <a:lnTo>
                    <a:pt x="52" y="0"/>
                  </a:lnTo>
                  <a:lnTo>
                    <a:pt x="70" y="16"/>
                  </a:lnTo>
                  <a:lnTo>
                    <a:pt x="70" y="31"/>
                  </a:lnTo>
                  <a:lnTo>
                    <a:pt x="18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4" name="Freeform 236">
              <a:extLst>
                <a:ext uri="{FF2B5EF4-FFF2-40B4-BE49-F238E27FC236}">
                  <a16:creationId xmlns:a16="http://schemas.microsoft.com/office/drawing/2014/main" id="{D04FCE38-209C-4C74-8FB6-AF8B26974083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4972049" y="3449638"/>
              <a:ext cx="149225" cy="76200"/>
            </a:xfrm>
            <a:custGeom>
              <a:avLst/>
              <a:gdLst>
                <a:gd name="T0" fmla="*/ 37306 w 188"/>
                <a:gd name="T1" fmla="*/ 11906 h 96"/>
                <a:gd name="T2" fmla="*/ 37306 w 188"/>
                <a:gd name="T3" fmla="*/ 11906 h 96"/>
                <a:gd name="T4" fmla="*/ 30956 w 188"/>
                <a:gd name="T5" fmla="*/ 6350 h 96"/>
                <a:gd name="T6" fmla="*/ 26988 w 188"/>
                <a:gd name="T7" fmla="*/ 6350 h 96"/>
                <a:gd name="T8" fmla="*/ 19844 w 188"/>
                <a:gd name="T9" fmla="*/ 2381 h 96"/>
                <a:gd name="T10" fmla="*/ 17463 w 188"/>
                <a:gd name="T11" fmla="*/ 0 h 96"/>
                <a:gd name="T12" fmla="*/ 17463 w 188"/>
                <a:gd name="T13" fmla="*/ 2381 h 96"/>
                <a:gd name="T14" fmla="*/ 14288 w 188"/>
                <a:gd name="T15" fmla="*/ 0 h 96"/>
                <a:gd name="T16" fmla="*/ 7144 w 188"/>
                <a:gd name="T17" fmla="*/ 2381 h 96"/>
                <a:gd name="T18" fmla="*/ 0 w 188"/>
                <a:gd name="T19" fmla="*/ 6350 h 96"/>
                <a:gd name="T20" fmla="*/ 3969 w 188"/>
                <a:gd name="T21" fmla="*/ 11906 h 96"/>
                <a:gd name="T22" fmla="*/ 9525 w 188"/>
                <a:gd name="T23" fmla="*/ 19050 h 96"/>
                <a:gd name="T24" fmla="*/ 17463 w 188"/>
                <a:gd name="T25" fmla="*/ 19050 h 96"/>
                <a:gd name="T26" fmla="*/ 17463 w 188"/>
                <a:gd name="T27" fmla="*/ 15875 h 96"/>
                <a:gd name="T28" fmla="*/ 26988 w 188"/>
                <a:gd name="T29" fmla="*/ 19050 h 96"/>
                <a:gd name="T30" fmla="*/ 37306 w 188"/>
                <a:gd name="T31" fmla="*/ 11906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8"/>
                <a:gd name="T49" fmla="*/ 0 h 96"/>
                <a:gd name="T50" fmla="*/ 188 w 188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8" h="96">
                  <a:moveTo>
                    <a:pt x="188" y="63"/>
                  </a:moveTo>
                  <a:lnTo>
                    <a:pt x="188" y="63"/>
                  </a:lnTo>
                  <a:lnTo>
                    <a:pt x="153" y="32"/>
                  </a:lnTo>
                  <a:lnTo>
                    <a:pt x="136" y="32"/>
                  </a:lnTo>
                  <a:lnTo>
                    <a:pt x="103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69" y="0"/>
                  </a:lnTo>
                  <a:lnTo>
                    <a:pt x="34" y="15"/>
                  </a:lnTo>
                  <a:lnTo>
                    <a:pt x="0" y="32"/>
                  </a:lnTo>
                  <a:lnTo>
                    <a:pt x="17" y="63"/>
                  </a:lnTo>
                  <a:lnTo>
                    <a:pt x="51" y="96"/>
                  </a:lnTo>
                  <a:lnTo>
                    <a:pt x="86" y="96"/>
                  </a:lnTo>
                  <a:lnTo>
                    <a:pt x="86" y="80"/>
                  </a:lnTo>
                  <a:lnTo>
                    <a:pt x="136" y="96"/>
                  </a:lnTo>
                  <a:lnTo>
                    <a:pt x="188" y="6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5" name="Freeform 237">
              <a:extLst>
                <a:ext uri="{FF2B5EF4-FFF2-40B4-BE49-F238E27FC236}">
                  <a16:creationId xmlns:a16="http://schemas.microsoft.com/office/drawing/2014/main" id="{0B3D9A61-7898-479D-87D6-6886B28135AF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5079999" y="3500438"/>
              <a:ext cx="125413" cy="52388"/>
            </a:xfrm>
            <a:custGeom>
              <a:avLst/>
              <a:gdLst>
                <a:gd name="T0" fmla="*/ 0 w 157"/>
                <a:gd name="T1" fmla="*/ 7254 h 65"/>
                <a:gd name="T2" fmla="*/ 0 w 157"/>
                <a:gd name="T3" fmla="*/ 7254 h 65"/>
                <a:gd name="T4" fmla="*/ 0 w 157"/>
                <a:gd name="T5" fmla="*/ 13701 h 65"/>
                <a:gd name="T6" fmla="*/ 7189 w 157"/>
                <a:gd name="T7" fmla="*/ 13701 h 65"/>
                <a:gd name="T8" fmla="*/ 21568 w 157"/>
                <a:gd name="T9" fmla="*/ 7254 h 65"/>
                <a:gd name="T10" fmla="*/ 27958 w 157"/>
                <a:gd name="T11" fmla="*/ 9672 h 65"/>
                <a:gd name="T12" fmla="*/ 31952 w 157"/>
                <a:gd name="T13" fmla="*/ 4030 h 65"/>
                <a:gd name="T14" fmla="*/ 24763 w 157"/>
                <a:gd name="T15" fmla="*/ 0 h 65"/>
                <a:gd name="T16" fmla="*/ 17574 w 157"/>
                <a:gd name="T17" fmla="*/ 4030 h 65"/>
                <a:gd name="T18" fmla="*/ 14379 w 157"/>
                <a:gd name="T19" fmla="*/ 0 h 65"/>
                <a:gd name="T20" fmla="*/ 11183 w 157"/>
                <a:gd name="T21" fmla="*/ 0 h 65"/>
                <a:gd name="T22" fmla="*/ 0 w 157"/>
                <a:gd name="T23" fmla="*/ 7254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7"/>
                <a:gd name="T37" fmla="*/ 0 h 65"/>
                <a:gd name="T38" fmla="*/ 157 w 157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7" h="65">
                  <a:moveTo>
                    <a:pt x="0" y="33"/>
                  </a:moveTo>
                  <a:lnTo>
                    <a:pt x="0" y="33"/>
                  </a:lnTo>
                  <a:lnTo>
                    <a:pt x="0" y="65"/>
                  </a:lnTo>
                  <a:lnTo>
                    <a:pt x="34" y="65"/>
                  </a:lnTo>
                  <a:lnTo>
                    <a:pt x="105" y="33"/>
                  </a:lnTo>
                  <a:lnTo>
                    <a:pt x="140" y="48"/>
                  </a:lnTo>
                  <a:lnTo>
                    <a:pt x="157" y="17"/>
                  </a:lnTo>
                  <a:lnTo>
                    <a:pt x="123" y="0"/>
                  </a:lnTo>
                  <a:lnTo>
                    <a:pt x="88" y="17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6" name="Freeform 238">
              <a:extLst>
                <a:ext uri="{FF2B5EF4-FFF2-40B4-BE49-F238E27FC236}">
                  <a16:creationId xmlns:a16="http://schemas.microsoft.com/office/drawing/2014/main" id="{ABD2C9F7-8C93-4977-BF54-C14A917861B7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5013324" y="3590926"/>
              <a:ext cx="122238" cy="114300"/>
            </a:xfrm>
            <a:custGeom>
              <a:avLst/>
              <a:gdLst>
                <a:gd name="T0" fmla="*/ 13321 w 156"/>
                <a:gd name="T1" fmla="*/ 0 h 144"/>
                <a:gd name="T2" fmla="*/ 13321 w 156"/>
                <a:gd name="T3" fmla="*/ 0 h 144"/>
                <a:gd name="T4" fmla="*/ 23507 w 156"/>
                <a:gd name="T5" fmla="*/ 5556 h 144"/>
                <a:gd name="T6" fmla="*/ 26642 w 156"/>
                <a:gd name="T7" fmla="*/ 5556 h 144"/>
                <a:gd name="T8" fmla="*/ 29776 w 156"/>
                <a:gd name="T9" fmla="*/ 9525 h 144"/>
                <a:gd name="T10" fmla="*/ 29776 w 156"/>
                <a:gd name="T11" fmla="*/ 12700 h 144"/>
                <a:gd name="T12" fmla="*/ 26642 w 156"/>
                <a:gd name="T13" fmla="*/ 12700 h 144"/>
                <a:gd name="T14" fmla="*/ 26642 w 156"/>
                <a:gd name="T15" fmla="*/ 9525 h 144"/>
                <a:gd name="T16" fmla="*/ 16455 w 156"/>
                <a:gd name="T17" fmla="*/ 5556 h 144"/>
                <a:gd name="T18" fmla="*/ 13321 w 156"/>
                <a:gd name="T19" fmla="*/ 9525 h 144"/>
                <a:gd name="T20" fmla="*/ 13321 w 156"/>
                <a:gd name="T21" fmla="*/ 5556 h 144"/>
                <a:gd name="T22" fmla="*/ 10186 w 156"/>
                <a:gd name="T23" fmla="*/ 9525 h 144"/>
                <a:gd name="T24" fmla="*/ 13321 w 156"/>
                <a:gd name="T25" fmla="*/ 12700 h 144"/>
                <a:gd name="T26" fmla="*/ 19589 w 156"/>
                <a:gd name="T27" fmla="*/ 22225 h 144"/>
                <a:gd name="T28" fmla="*/ 26642 w 156"/>
                <a:gd name="T29" fmla="*/ 24606 h 144"/>
                <a:gd name="T30" fmla="*/ 23507 w 156"/>
                <a:gd name="T31" fmla="*/ 28575 h 144"/>
                <a:gd name="T32" fmla="*/ 16455 w 156"/>
                <a:gd name="T33" fmla="*/ 22225 h 144"/>
                <a:gd name="T34" fmla="*/ 13321 w 156"/>
                <a:gd name="T35" fmla="*/ 22225 h 144"/>
                <a:gd name="T36" fmla="*/ 6269 w 156"/>
                <a:gd name="T37" fmla="*/ 15081 h 144"/>
                <a:gd name="T38" fmla="*/ 10186 w 156"/>
                <a:gd name="T39" fmla="*/ 15081 h 144"/>
                <a:gd name="T40" fmla="*/ 6269 w 156"/>
                <a:gd name="T41" fmla="*/ 15081 h 144"/>
                <a:gd name="T42" fmla="*/ 6269 w 156"/>
                <a:gd name="T43" fmla="*/ 9525 h 144"/>
                <a:gd name="T44" fmla="*/ 3134 w 156"/>
                <a:gd name="T45" fmla="*/ 9525 h 144"/>
                <a:gd name="T46" fmla="*/ 0 w 156"/>
                <a:gd name="T47" fmla="*/ 12700 h 144"/>
                <a:gd name="T48" fmla="*/ 0 w 156"/>
                <a:gd name="T49" fmla="*/ 9525 h 144"/>
                <a:gd name="T50" fmla="*/ 0 w 156"/>
                <a:gd name="T51" fmla="*/ 5556 h 144"/>
                <a:gd name="T52" fmla="*/ 3134 w 156"/>
                <a:gd name="T53" fmla="*/ 5556 h 144"/>
                <a:gd name="T54" fmla="*/ 6269 w 156"/>
                <a:gd name="T55" fmla="*/ 5556 h 144"/>
                <a:gd name="T56" fmla="*/ 10186 w 156"/>
                <a:gd name="T57" fmla="*/ 0 h 144"/>
                <a:gd name="T58" fmla="*/ 13321 w 156"/>
                <a:gd name="T59" fmla="*/ 0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44"/>
                <a:gd name="T92" fmla="*/ 156 w 156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44">
                  <a:moveTo>
                    <a:pt x="70" y="0"/>
                  </a:moveTo>
                  <a:lnTo>
                    <a:pt x="70" y="0"/>
                  </a:lnTo>
                  <a:lnTo>
                    <a:pt x="121" y="31"/>
                  </a:lnTo>
                  <a:lnTo>
                    <a:pt x="139" y="31"/>
                  </a:lnTo>
                  <a:lnTo>
                    <a:pt x="156" y="48"/>
                  </a:lnTo>
                  <a:lnTo>
                    <a:pt x="156" y="64"/>
                  </a:lnTo>
                  <a:lnTo>
                    <a:pt x="139" y="64"/>
                  </a:lnTo>
                  <a:lnTo>
                    <a:pt x="139" y="48"/>
                  </a:lnTo>
                  <a:lnTo>
                    <a:pt x="87" y="31"/>
                  </a:lnTo>
                  <a:lnTo>
                    <a:pt x="70" y="48"/>
                  </a:lnTo>
                  <a:lnTo>
                    <a:pt x="70" y="31"/>
                  </a:lnTo>
                  <a:lnTo>
                    <a:pt x="52" y="48"/>
                  </a:lnTo>
                  <a:lnTo>
                    <a:pt x="70" y="64"/>
                  </a:lnTo>
                  <a:lnTo>
                    <a:pt x="104" y="112"/>
                  </a:lnTo>
                  <a:lnTo>
                    <a:pt x="139" y="127"/>
                  </a:lnTo>
                  <a:lnTo>
                    <a:pt x="121" y="144"/>
                  </a:lnTo>
                  <a:lnTo>
                    <a:pt x="87" y="112"/>
                  </a:lnTo>
                  <a:lnTo>
                    <a:pt x="70" y="112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35" y="79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6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8" y="31"/>
                  </a:lnTo>
                  <a:lnTo>
                    <a:pt x="35" y="31"/>
                  </a:lnTo>
                  <a:lnTo>
                    <a:pt x="52" y="0"/>
                  </a:lnTo>
                  <a:lnTo>
                    <a:pt x="7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7" name="Freeform 239">
              <a:extLst>
                <a:ext uri="{FF2B5EF4-FFF2-40B4-BE49-F238E27FC236}">
                  <a16:creationId xmlns:a16="http://schemas.microsoft.com/office/drawing/2014/main" id="{3A911B35-54DA-4CBA-8686-E5C71273DBB3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5106987" y="3678238"/>
              <a:ext cx="41275" cy="38100"/>
            </a:xfrm>
            <a:custGeom>
              <a:avLst/>
              <a:gdLst>
                <a:gd name="T0" fmla="*/ 0 w 52"/>
                <a:gd name="T1" fmla="*/ 6350 h 48"/>
                <a:gd name="T2" fmla="*/ 0 w 52"/>
                <a:gd name="T3" fmla="*/ 6350 h 48"/>
                <a:gd name="T4" fmla="*/ 7144 w 52"/>
                <a:gd name="T5" fmla="*/ 9525 h 48"/>
                <a:gd name="T6" fmla="*/ 7144 w 52"/>
                <a:gd name="T7" fmla="*/ 6350 h 48"/>
                <a:gd name="T8" fmla="*/ 10319 w 52"/>
                <a:gd name="T9" fmla="*/ 6350 h 48"/>
                <a:gd name="T10" fmla="*/ 10319 w 52"/>
                <a:gd name="T11" fmla="*/ 2381 h 48"/>
                <a:gd name="T12" fmla="*/ 7144 w 52"/>
                <a:gd name="T13" fmla="*/ 0 h 48"/>
                <a:gd name="T14" fmla="*/ 3969 w 52"/>
                <a:gd name="T15" fmla="*/ 0 h 48"/>
                <a:gd name="T16" fmla="*/ 0 w 52"/>
                <a:gd name="T17" fmla="*/ 2381 h 48"/>
                <a:gd name="T18" fmla="*/ 3969 w 52"/>
                <a:gd name="T19" fmla="*/ 2381 h 48"/>
                <a:gd name="T20" fmla="*/ 0 w 52"/>
                <a:gd name="T21" fmla="*/ 6350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32"/>
                  </a:moveTo>
                  <a:lnTo>
                    <a:pt x="0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15"/>
                  </a:lnTo>
                  <a:lnTo>
                    <a:pt x="18" y="15"/>
                  </a:lnTo>
                  <a:lnTo>
                    <a:pt x="0" y="32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8" name="Freeform 240">
              <a:extLst>
                <a:ext uri="{FF2B5EF4-FFF2-40B4-BE49-F238E27FC236}">
                  <a16:creationId xmlns:a16="http://schemas.microsoft.com/office/drawing/2014/main" id="{62D60492-002C-4F61-AB0A-031476400D3B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4541838" y="3309938"/>
              <a:ext cx="57150" cy="52388"/>
            </a:xfrm>
            <a:custGeom>
              <a:avLst/>
              <a:gdLst>
                <a:gd name="T0" fmla="*/ 11269 w 71"/>
                <a:gd name="T1" fmla="*/ 13701 h 65"/>
                <a:gd name="T2" fmla="*/ 11269 w 71"/>
                <a:gd name="T3" fmla="*/ 9672 h 65"/>
                <a:gd name="T4" fmla="*/ 4025 w 71"/>
                <a:gd name="T5" fmla="*/ 9672 h 65"/>
                <a:gd name="T6" fmla="*/ 0 w 71"/>
                <a:gd name="T7" fmla="*/ 7254 h 65"/>
                <a:gd name="T8" fmla="*/ 4025 w 71"/>
                <a:gd name="T9" fmla="*/ 0 h 65"/>
                <a:gd name="T10" fmla="*/ 11269 w 71"/>
                <a:gd name="T11" fmla="*/ 4030 h 65"/>
                <a:gd name="T12" fmla="*/ 14489 w 71"/>
                <a:gd name="T13" fmla="*/ 9672 h 65"/>
                <a:gd name="T14" fmla="*/ 11269 w 71"/>
                <a:gd name="T15" fmla="*/ 13701 h 6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65"/>
                <a:gd name="T26" fmla="*/ 71 w 71"/>
                <a:gd name="T27" fmla="*/ 65 h 6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65">
                  <a:moveTo>
                    <a:pt x="54" y="65"/>
                  </a:moveTo>
                  <a:lnTo>
                    <a:pt x="54" y="48"/>
                  </a:lnTo>
                  <a:lnTo>
                    <a:pt x="18" y="48"/>
                  </a:lnTo>
                  <a:lnTo>
                    <a:pt x="0" y="33"/>
                  </a:lnTo>
                  <a:lnTo>
                    <a:pt x="18" y="0"/>
                  </a:lnTo>
                  <a:lnTo>
                    <a:pt x="54" y="18"/>
                  </a:lnTo>
                  <a:lnTo>
                    <a:pt x="71" y="48"/>
                  </a:lnTo>
                  <a:lnTo>
                    <a:pt x="54" y="65"/>
                  </a:lnTo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79" name="Freeform 241">
              <a:extLst>
                <a:ext uri="{FF2B5EF4-FFF2-40B4-BE49-F238E27FC236}">
                  <a16:creationId xmlns:a16="http://schemas.microsoft.com/office/drawing/2014/main" id="{7C94DE91-F6BD-471F-8D62-4B34C4014CC5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4489450" y="3309938"/>
              <a:ext cx="93663" cy="128588"/>
            </a:xfrm>
            <a:custGeom>
              <a:avLst/>
              <a:gdLst>
                <a:gd name="T0" fmla="*/ 16529 w 119"/>
                <a:gd name="T1" fmla="*/ 0 h 161"/>
                <a:gd name="T2" fmla="*/ 13380 w 119"/>
                <a:gd name="T3" fmla="*/ 7188 h 161"/>
                <a:gd name="T4" fmla="*/ 16529 w 119"/>
                <a:gd name="T5" fmla="*/ 9584 h 161"/>
                <a:gd name="T6" fmla="*/ 22825 w 119"/>
                <a:gd name="T7" fmla="*/ 9584 h 161"/>
                <a:gd name="T8" fmla="*/ 22825 w 119"/>
                <a:gd name="T9" fmla="*/ 13578 h 161"/>
                <a:gd name="T10" fmla="*/ 22825 w 119"/>
                <a:gd name="T11" fmla="*/ 19168 h 161"/>
                <a:gd name="T12" fmla="*/ 19677 w 119"/>
                <a:gd name="T13" fmla="*/ 28753 h 161"/>
                <a:gd name="T14" fmla="*/ 3148 w 119"/>
                <a:gd name="T15" fmla="*/ 32746 h 161"/>
                <a:gd name="T16" fmla="*/ 0 w 119"/>
                <a:gd name="T17" fmla="*/ 28753 h 161"/>
                <a:gd name="T18" fmla="*/ 3148 w 119"/>
                <a:gd name="T19" fmla="*/ 28753 h 161"/>
                <a:gd name="T20" fmla="*/ 6297 w 119"/>
                <a:gd name="T21" fmla="*/ 19168 h 161"/>
                <a:gd name="T22" fmla="*/ 3148 w 119"/>
                <a:gd name="T23" fmla="*/ 16772 h 161"/>
                <a:gd name="T24" fmla="*/ 6297 w 119"/>
                <a:gd name="T25" fmla="*/ 13578 h 161"/>
                <a:gd name="T26" fmla="*/ 3148 w 119"/>
                <a:gd name="T27" fmla="*/ 13578 h 161"/>
                <a:gd name="T28" fmla="*/ 3148 w 119"/>
                <a:gd name="T29" fmla="*/ 9584 h 161"/>
                <a:gd name="T30" fmla="*/ 10232 w 119"/>
                <a:gd name="T31" fmla="*/ 9584 h 161"/>
                <a:gd name="T32" fmla="*/ 13380 w 119"/>
                <a:gd name="T33" fmla="*/ 7188 h 161"/>
                <a:gd name="T34" fmla="*/ 10232 w 119"/>
                <a:gd name="T35" fmla="*/ 7188 h 161"/>
                <a:gd name="T36" fmla="*/ 10232 w 119"/>
                <a:gd name="T37" fmla="*/ 3993 h 161"/>
                <a:gd name="T38" fmla="*/ 16529 w 119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9"/>
                <a:gd name="T61" fmla="*/ 0 h 161"/>
                <a:gd name="T62" fmla="*/ 119 w 119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9" h="161">
                  <a:moveTo>
                    <a:pt x="86" y="0"/>
                  </a:moveTo>
                  <a:lnTo>
                    <a:pt x="69" y="33"/>
                  </a:lnTo>
                  <a:lnTo>
                    <a:pt x="86" y="48"/>
                  </a:lnTo>
                  <a:lnTo>
                    <a:pt x="119" y="48"/>
                  </a:lnTo>
                  <a:lnTo>
                    <a:pt x="119" y="65"/>
                  </a:lnTo>
                  <a:lnTo>
                    <a:pt x="119" y="96"/>
                  </a:lnTo>
                  <a:lnTo>
                    <a:pt x="102" y="144"/>
                  </a:lnTo>
                  <a:lnTo>
                    <a:pt x="17" y="161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35" y="96"/>
                  </a:lnTo>
                  <a:lnTo>
                    <a:pt x="17" y="81"/>
                  </a:lnTo>
                  <a:lnTo>
                    <a:pt x="35" y="65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52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52" y="18"/>
                  </a:lnTo>
                  <a:lnTo>
                    <a:pt x="86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0" name="Freeform 242">
              <a:extLst>
                <a:ext uri="{FF2B5EF4-FFF2-40B4-BE49-F238E27FC236}">
                  <a16:creationId xmlns:a16="http://schemas.microsoft.com/office/drawing/2014/main" id="{7CFB99CA-7FB8-4EF5-8471-560E3A95B703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4516438" y="3667126"/>
              <a:ext cx="260350" cy="201613"/>
            </a:xfrm>
            <a:custGeom>
              <a:avLst/>
              <a:gdLst>
                <a:gd name="T0" fmla="*/ 3969 w 328"/>
                <a:gd name="T1" fmla="*/ 12650 h 255"/>
                <a:gd name="T2" fmla="*/ 3969 w 328"/>
                <a:gd name="T3" fmla="*/ 12650 h 255"/>
                <a:gd name="T4" fmla="*/ 16669 w 328"/>
                <a:gd name="T5" fmla="*/ 12650 h 255"/>
                <a:gd name="T6" fmla="*/ 16669 w 328"/>
                <a:gd name="T7" fmla="*/ 15022 h 255"/>
                <a:gd name="T8" fmla="*/ 14288 w 328"/>
                <a:gd name="T9" fmla="*/ 18975 h 255"/>
                <a:gd name="T10" fmla="*/ 14288 w 328"/>
                <a:gd name="T11" fmla="*/ 24510 h 255"/>
                <a:gd name="T12" fmla="*/ 9525 w 328"/>
                <a:gd name="T13" fmla="*/ 28463 h 255"/>
                <a:gd name="T14" fmla="*/ 14288 w 328"/>
                <a:gd name="T15" fmla="*/ 37951 h 255"/>
                <a:gd name="T16" fmla="*/ 9525 w 328"/>
                <a:gd name="T17" fmla="*/ 43485 h 255"/>
                <a:gd name="T18" fmla="*/ 19844 w 328"/>
                <a:gd name="T19" fmla="*/ 49810 h 255"/>
                <a:gd name="T20" fmla="*/ 23812 w 328"/>
                <a:gd name="T21" fmla="*/ 47438 h 255"/>
                <a:gd name="T22" fmla="*/ 37306 w 328"/>
                <a:gd name="T23" fmla="*/ 47438 h 255"/>
                <a:gd name="T24" fmla="*/ 51594 w 328"/>
                <a:gd name="T25" fmla="*/ 33997 h 255"/>
                <a:gd name="T26" fmla="*/ 47625 w 328"/>
                <a:gd name="T27" fmla="*/ 28463 h 255"/>
                <a:gd name="T28" fmla="*/ 54769 w 328"/>
                <a:gd name="T29" fmla="*/ 18975 h 255"/>
                <a:gd name="T30" fmla="*/ 65088 w 328"/>
                <a:gd name="T31" fmla="*/ 12650 h 255"/>
                <a:gd name="T32" fmla="*/ 65088 w 328"/>
                <a:gd name="T33" fmla="*/ 9488 h 255"/>
                <a:gd name="T34" fmla="*/ 47625 w 328"/>
                <a:gd name="T35" fmla="*/ 5534 h 255"/>
                <a:gd name="T36" fmla="*/ 40481 w 328"/>
                <a:gd name="T37" fmla="*/ 3163 h 255"/>
                <a:gd name="T38" fmla="*/ 37306 w 328"/>
                <a:gd name="T39" fmla="*/ 3163 h 255"/>
                <a:gd name="T40" fmla="*/ 30956 w 328"/>
                <a:gd name="T41" fmla="*/ 3163 h 255"/>
                <a:gd name="T42" fmla="*/ 27781 w 328"/>
                <a:gd name="T43" fmla="*/ 3163 h 255"/>
                <a:gd name="T44" fmla="*/ 7144 w 328"/>
                <a:gd name="T45" fmla="*/ 0 h 255"/>
                <a:gd name="T46" fmla="*/ 3969 w 328"/>
                <a:gd name="T47" fmla="*/ 3163 h 255"/>
                <a:gd name="T48" fmla="*/ 0 w 328"/>
                <a:gd name="T49" fmla="*/ 3163 h 255"/>
                <a:gd name="T50" fmla="*/ 0 w 328"/>
                <a:gd name="T51" fmla="*/ 5534 h 255"/>
                <a:gd name="T52" fmla="*/ 3969 w 328"/>
                <a:gd name="T53" fmla="*/ 12650 h 2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8"/>
                <a:gd name="T82" fmla="*/ 0 h 255"/>
                <a:gd name="T83" fmla="*/ 328 w 328"/>
                <a:gd name="T84" fmla="*/ 255 h 2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8" h="255">
                  <a:moveTo>
                    <a:pt x="17" y="64"/>
                  </a:moveTo>
                  <a:lnTo>
                    <a:pt x="17" y="64"/>
                  </a:lnTo>
                  <a:lnTo>
                    <a:pt x="86" y="64"/>
                  </a:lnTo>
                  <a:lnTo>
                    <a:pt x="86" y="79"/>
                  </a:lnTo>
                  <a:lnTo>
                    <a:pt x="69" y="96"/>
                  </a:lnTo>
                  <a:lnTo>
                    <a:pt x="69" y="127"/>
                  </a:lnTo>
                  <a:lnTo>
                    <a:pt x="51" y="144"/>
                  </a:lnTo>
                  <a:lnTo>
                    <a:pt x="69" y="192"/>
                  </a:lnTo>
                  <a:lnTo>
                    <a:pt x="51" y="223"/>
                  </a:lnTo>
                  <a:lnTo>
                    <a:pt x="103" y="255"/>
                  </a:lnTo>
                  <a:lnTo>
                    <a:pt x="121" y="240"/>
                  </a:lnTo>
                  <a:lnTo>
                    <a:pt x="190" y="240"/>
                  </a:lnTo>
                  <a:lnTo>
                    <a:pt x="259" y="175"/>
                  </a:lnTo>
                  <a:lnTo>
                    <a:pt x="241" y="144"/>
                  </a:lnTo>
                  <a:lnTo>
                    <a:pt x="276" y="96"/>
                  </a:lnTo>
                  <a:lnTo>
                    <a:pt x="328" y="64"/>
                  </a:lnTo>
                  <a:lnTo>
                    <a:pt x="328" y="48"/>
                  </a:lnTo>
                  <a:lnTo>
                    <a:pt x="241" y="31"/>
                  </a:lnTo>
                  <a:lnTo>
                    <a:pt x="207" y="16"/>
                  </a:lnTo>
                  <a:lnTo>
                    <a:pt x="190" y="16"/>
                  </a:lnTo>
                  <a:lnTo>
                    <a:pt x="155" y="16"/>
                  </a:lnTo>
                  <a:lnTo>
                    <a:pt x="138" y="16"/>
                  </a:lnTo>
                  <a:lnTo>
                    <a:pt x="34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31"/>
                  </a:lnTo>
                  <a:lnTo>
                    <a:pt x="17" y="64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1" name="Freeform 243">
              <a:extLst>
                <a:ext uri="{FF2B5EF4-FFF2-40B4-BE49-F238E27FC236}">
                  <a16:creationId xmlns:a16="http://schemas.microsoft.com/office/drawing/2014/main" id="{15FA68B5-77FB-4D4E-BADE-11B07545B9AA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4516438" y="3716338"/>
              <a:ext cx="66675" cy="127000"/>
            </a:xfrm>
            <a:custGeom>
              <a:avLst/>
              <a:gdLst>
                <a:gd name="T0" fmla="*/ 9525 w 84"/>
                <a:gd name="T1" fmla="*/ 31950 h 159"/>
                <a:gd name="T2" fmla="*/ 9525 w 84"/>
                <a:gd name="T3" fmla="*/ 31950 h 159"/>
                <a:gd name="T4" fmla="*/ 13494 w 84"/>
                <a:gd name="T5" fmla="*/ 25560 h 159"/>
                <a:gd name="T6" fmla="*/ 9525 w 84"/>
                <a:gd name="T7" fmla="*/ 15975 h 159"/>
                <a:gd name="T8" fmla="*/ 13494 w 84"/>
                <a:gd name="T9" fmla="*/ 12780 h 159"/>
                <a:gd name="T10" fmla="*/ 13494 w 84"/>
                <a:gd name="T11" fmla="*/ 6390 h 159"/>
                <a:gd name="T12" fmla="*/ 16669 w 84"/>
                <a:gd name="T13" fmla="*/ 3195 h 159"/>
                <a:gd name="T14" fmla="*/ 16669 w 84"/>
                <a:gd name="T15" fmla="*/ 0 h 159"/>
                <a:gd name="T16" fmla="*/ 3969 w 84"/>
                <a:gd name="T17" fmla="*/ 0 h 159"/>
                <a:gd name="T18" fmla="*/ 3969 w 84"/>
                <a:gd name="T19" fmla="*/ 6390 h 159"/>
                <a:gd name="T20" fmla="*/ 0 w 84"/>
                <a:gd name="T21" fmla="*/ 22365 h 159"/>
                <a:gd name="T22" fmla="*/ 3969 w 84"/>
                <a:gd name="T23" fmla="*/ 22365 h 159"/>
                <a:gd name="T24" fmla="*/ 0 w 84"/>
                <a:gd name="T25" fmla="*/ 31950 h 159"/>
                <a:gd name="T26" fmla="*/ 9525 w 84"/>
                <a:gd name="T27" fmla="*/ 31950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4"/>
                <a:gd name="T43" fmla="*/ 0 h 159"/>
                <a:gd name="T44" fmla="*/ 84 w 84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4" h="159">
                  <a:moveTo>
                    <a:pt x="50" y="159"/>
                  </a:moveTo>
                  <a:lnTo>
                    <a:pt x="50" y="159"/>
                  </a:lnTo>
                  <a:lnTo>
                    <a:pt x="67" y="128"/>
                  </a:lnTo>
                  <a:lnTo>
                    <a:pt x="50" y="80"/>
                  </a:lnTo>
                  <a:lnTo>
                    <a:pt x="67" y="63"/>
                  </a:lnTo>
                  <a:lnTo>
                    <a:pt x="67" y="32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7" y="0"/>
                  </a:lnTo>
                  <a:lnTo>
                    <a:pt x="17" y="32"/>
                  </a:lnTo>
                  <a:lnTo>
                    <a:pt x="0" y="111"/>
                  </a:lnTo>
                  <a:lnTo>
                    <a:pt x="17" y="111"/>
                  </a:lnTo>
                  <a:lnTo>
                    <a:pt x="0" y="159"/>
                  </a:lnTo>
                  <a:lnTo>
                    <a:pt x="50" y="159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2" name="Freeform 244">
              <a:extLst>
                <a:ext uri="{FF2B5EF4-FFF2-40B4-BE49-F238E27FC236}">
                  <a16:creationId xmlns:a16="http://schemas.microsoft.com/office/drawing/2014/main" id="{E999F944-6367-4394-BBB5-6E1E9CC5E119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570413" y="3195638"/>
              <a:ext cx="179388" cy="292100"/>
            </a:xfrm>
            <a:custGeom>
              <a:avLst/>
              <a:gdLst>
                <a:gd name="T0" fmla="*/ 7208 w 224"/>
                <a:gd name="T1" fmla="*/ 72827 h 369"/>
                <a:gd name="T2" fmla="*/ 10411 w 224"/>
                <a:gd name="T3" fmla="*/ 69661 h 369"/>
                <a:gd name="T4" fmla="*/ 17618 w 224"/>
                <a:gd name="T5" fmla="*/ 72827 h 369"/>
                <a:gd name="T6" fmla="*/ 17618 w 224"/>
                <a:gd name="T7" fmla="*/ 69661 h 369"/>
                <a:gd name="T8" fmla="*/ 20822 w 224"/>
                <a:gd name="T9" fmla="*/ 66494 h 369"/>
                <a:gd name="T10" fmla="*/ 24826 w 224"/>
                <a:gd name="T11" fmla="*/ 69661 h 369"/>
                <a:gd name="T12" fmla="*/ 28029 w 224"/>
                <a:gd name="T13" fmla="*/ 66494 h 369"/>
                <a:gd name="T14" fmla="*/ 41644 w 224"/>
                <a:gd name="T15" fmla="*/ 66494 h 369"/>
                <a:gd name="T16" fmla="*/ 45648 w 224"/>
                <a:gd name="T17" fmla="*/ 63328 h 369"/>
                <a:gd name="T18" fmla="*/ 38440 w 224"/>
                <a:gd name="T19" fmla="*/ 63328 h 369"/>
                <a:gd name="T20" fmla="*/ 45648 w 224"/>
                <a:gd name="T21" fmla="*/ 53829 h 369"/>
                <a:gd name="T22" fmla="*/ 41644 w 224"/>
                <a:gd name="T23" fmla="*/ 50662 h 369"/>
                <a:gd name="T24" fmla="*/ 38440 w 224"/>
                <a:gd name="T25" fmla="*/ 50662 h 369"/>
                <a:gd name="T26" fmla="*/ 35237 w 224"/>
                <a:gd name="T27" fmla="*/ 50662 h 369"/>
                <a:gd name="T28" fmla="*/ 38440 w 224"/>
                <a:gd name="T29" fmla="*/ 47496 h 369"/>
                <a:gd name="T30" fmla="*/ 38440 w 224"/>
                <a:gd name="T31" fmla="*/ 44330 h 369"/>
                <a:gd name="T32" fmla="*/ 35237 w 224"/>
                <a:gd name="T33" fmla="*/ 37997 h 369"/>
                <a:gd name="T34" fmla="*/ 31233 w 224"/>
                <a:gd name="T35" fmla="*/ 34830 h 369"/>
                <a:gd name="T36" fmla="*/ 24826 w 224"/>
                <a:gd name="T37" fmla="*/ 25331 h 369"/>
                <a:gd name="T38" fmla="*/ 17618 w 224"/>
                <a:gd name="T39" fmla="*/ 22165 h 369"/>
                <a:gd name="T40" fmla="*/ 28029 w 224"/>
                <a:gd name="T41" fmla="*/ 9499 h 369"/>
                <a:gd name="T42" fmla="*/ 24826 w 224"/>
                <a:gd name="T43" fmla="*/ 6333 h 369"/>
                <a:gd name="T44" fmla="*/ 14415 w 224"/>
                <a:gd name="T45" fmla="*/ 9499 h 369"/>
                <a:gd name="T46" fmla="*/ 14415 w 224"/>
                <a:gd name="T47" fmla="*/ 3166 h 369"/>
                <a:gd name="T48" fmla="*/ 20822 w 224"/>
                <a:gd name="T49" fmla="*/ 0 h 369"/>
                <a:gd name="T50" fmla="*/ 17618 w 224"/>
                <a:gd name="T51" fmla="*/ 0 h 369"/>
                <a:gd name="T52" fmla="*/ 10411 w 224"/>
                <a:gd name="T53" fmla="*/ 0 h 369"/>
                <a:gd name="T54" fmla="*/ 4004 w 224"/>
                <a:gd name="T55" fmla="*/ 9499 h 369"/>
                <a:gd name="T56" fmla="*/ 0 w 224"/>
                <a:gd name="T57" fmla="*/ 9499 h 369"/>
                <a:gd name="T58" fmla="*/ 4004 w 224"/>
                <a:gd name="T59" fmla="*/ 12666 h 369"/>
                <a:gd name="T60" fmla="*/ 7208 w 224"/>
                <a:gd name="T61" fmla="*/ 12666 h 369"/>
                <a:gd name="T62" fmla="*/ 4004 w 224"/>
                <a:gd name="T63" fmla="*/ 18998 h 369"/>
                <a:gd name="T64" fmla="*/ 7208 w 224"/>
                <a:gd name="T65" fmla="*/ 18998 h 369"/>
                <a:gd name="T66" fmla="*/ 7208 w 224"/>
                <a:gd name="T67" fmla="*/ 22165 h 369"/>
                <a:gd name="T68" fmla="*/ 4004 w 224"/>
                <a:gd name="T69" fmla="*/ 25331 h 369"/>
                <a:gd name="T70" fmla="*/ 7208 w 224"/>
                <a:gd name="T71" fmla="*/ 25331 h 369"/>
                <a:gd name="T72" fmla="*/ 7208 w 224"/>
                <a:gd name="T73" fmla="*/ 28498 h 369"/>
                <a:gd name="T74" fmla="*/ 7208 w 224"/>
                <a:gd name="T75" fmla="*/ 25331 h 369"/>
                <a:gd name="T76" fmla="*/ 10411 w 224"/>
                <a:gd name="T77" fmla="*/ 28498 h 369"/>
                <a:gd name="T78" fmla="*/ 7208 w 224"/>
                <a:gd name="T79" fmla="*/ 31664 h 369"/>
                <a:gd name="T80" fmla="*/ 10411 w 224"/>
                <a:gd name="T81" fmla="*/ 34830 h 369"/>
                <a:gd name="T82" fmla="*/ 17618 w 224"/>
                <a:gd name="T83" fmla="*/ 31664 h 369"/>
                <a:gd name="T84" fmla="*/ 17618 w 224"/>
                <a:gd name="T85" fmla="*/ 34830 h 369"/>
                <a:gd name="T86" fmla="*/ 17618 w 224"/>
                <a:gd name="T87" fmla="*/ 37997 h 369"/>
                <a:gd name="T88" fmla="*/ 20822 w 224"/>
                <a:gd name="T89" fmla="*/ 37997 h 369"/>
                <a:gd name="T90" fmla="*/ 20822 w 224"/>
                <a:gd name="T91" fmla="*/ 44330 h 369"/>
                <a:gd name="T92" fmla="*/ 10411 w 224"/>
                <a:gd name="T93" fmla="*/ 44330 h 369"/>
                <a:gd name="T94" fmla="*/ 14415 w 224"/>
                <a:gd name="T95" fmla="*/ 47496 h 369"/>
                <a:gd name="T96" fmla="*/ 10411 w 224"/>
                <a:gd name="T97" fmla="*/ 50662 h 369"/>
                <a:gd name="T98" fmla="*/ 14415 w 224"/>
                <a:gd name="T99" fmla="*/ 50662 h 369"/>
                <a:gd name="T100" fmla="*/ 14415 w 224"/>
                <a:gd name="T101" fmla="*/ 53829 h 369"/>
                <a:gd name="T102" fmla="*/ 7208 w 224"/>
                <a:gd name="T103" fmla="*/ 56995 h 369"/>
                <a:gd name="T104" fmla="*/ 10411 w 224"/>
                <a:gd name="T105" fmla="*/ 60162 h 369"/>
                <a:gd name="T106" fmla="*/ 14415 w 224"/>
                <a:gd name="T107" fmla="*/ 60162 h 369"/>
                <a:gd name="T108" fmla="*/ 17618 w 224"/>
                <a:gd name="T109" fmla="*/ 63328 h 369"/>
                <a:gd name="T110" fmla="*/ 20822 w 224"/>
                <a:gd name="T111" fmla="*/ 60162 h 369"/>
                <a:gd name="T112" fmla="*/ 20822 w 224"/>
                <a:gd name="T113" fmla="*/ 63328 h 369"/>
                <a:gd name="T114" fmla="*/ 14415 w 224"/>
                <a:gd name="T115" fmla="*/ 63328 h 369"/>
                <a:gd name="T116" fmla="*/ 7208 w 224"/>
                <a:gd name="T117" fmla="*/ 72827 h 36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"/>
                <a:gd name="T178" fmla="*/ 0 h 369"/>
                <a:gd name="T179" fmla="*/ 224 w 224"/>
                <a:gd name="T180" fmla="*/ 369 h 36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" h="369">
                  <a:moveTo>
                    <a:pt x="34" y="369"/>
                  </a:moveTo>
                  <a:lnTo>
                    <a:pt x="52" y="353"/>
                  </a:lnTo>
                  <a:lnTo>
                    <a:pt x="86" y="369"/>
                  </a:lnTo>
                  <a:lnTo>
                    <a:pt x="86" y="353"/>
                  </a:lnTo>
                  <a:lnTo>
                    <a:pt x="103" y="336"/>
                  </a:lnTo>
                  <a:lnTo>
                    <a:pt x="121" y="353"/>
                  </a:lnTo>
                  <a:lnTo>
                    <a:pt x="138" y="336"/>
                  </a:lnTo>
                  <a:lnTo>
                    <a:pt x="207" y="336"/>
                  </a:lnTo>
                  <a:lnTo>
                    <a:pt x="224" y="321"/>
                  </a:lnTo>
                  <a:lnTo>
                    <a:pt x="190" y="321"/>
                  </a:lnTo>
                  <a:lnTo>
                    <a:pt x="224" y="273"/>
                  </a:lnTo>
                  <a:lnTo>
                    <a:pt x="207" y="257"/>
                  </a:lnTo>
                  <a:lnTo>
                    <a:pt x="190" y="257"/>
                  </a:lnTo>
                  <a:lnTo>
                    <a:pt x="172" y="257"/>
                  </a:lnTo>
                  <a:lnTo>
                    <a:pt x="190" y="240"/>
                  </a:lnTo>
                  <a:lnTo>
                    <a:pt x="190" y="225"/>
                  </a:lnTo>
                  <a:lnTo>
                    <a:pt x="172" y="192"/>
                  </a:lnTo>
                  <a:lnTo>
                    <a:pt x="155" y="177"/>
                  </a:lnTo>
                  <a:lnTo>
                    <a:pt x="121" y="129"/>
                  </a:lnTo>
                  <a:lnTo>
                    <a:pt x="86" y="114"/>
                  </a:lnTo>
                  <a:lnTo>
                    <a:pt x="138" y="48"/>
                  </a:lnTo>
                  <a:lnTo>
                    <a:pt x="121" y="33"/>
                  </a:lnTo>
                  <a:lnTo>
                    <a:pt x="69" y="48"/>
                  </a:lnTo>
                  <a:lnTo>
                    <a:pt x="69" y="18"/>
                  </a:lnTo>
                  <a:lnTo>
                    <a:pt x="103" y="0"/>
                  </a:lnTo>
                  <a:lnTo>
                    <a:pt x="86" y="0"/>
                  </a:lnTo>
                  <a:lnTo>
                    <a:pt x="52" y="0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17" y="66"/>
                  </a:lnTo>
                  <a:lnTo>
                    <a:pt x="34" y="66"/>
                  </a:lnTo>
                  <a:lnTo>
                    <a:pt x="17" y="96"/>
                  </a:lnTo>
                  <a:lnTo>
                    <a:pt x="34" y="96"/>
                  </a:lnTo>
                  <a:lnTo>
                    <a:pt x="34" y="114"/>
                  </a:lnTo>
                  <a:lnTo>
                    <a:pt x="17" y="129"/>
                  </a:lnTo>
                  <a:lnTo>
                    <a:pt x="34" y="129"/>
                  </a:lnTo>
                  <a:lnTo>
                    <a:pt x="34" y="144"/>
                  </a:lnTo>
                  <a:lnTo>
                    <a:pt x="34" y="129"/>
                  </a:lnTo>
                  <a:lnTo>
                    <a:pt x="52" y="144"/>
                  </a:lnTo>
                  <a:lnTo>
                    <a:pt x="34" y="162"/>
                  </a:lnTo>
                  <a:lnTo>
                    <a:pt x="52" y="177"/>
                  </a:lnTo>
                  <a:lnTo>
                    <a:pt x="86" y="162"/>
                  </a:lnTo>
                  <a:lnTo>
                    <a:pt x="86" y="177"/>
                  </a:lnTo>
                  <a:lnTo>
                    <a:pt x="86" y="192"/>
                  </a:lnTo>
                  <a:lnTo>
                    <a:pt x="103" y="192"/>
                  </a:lnTo>
                  <a:lnTo>
                    <a:pt x="103" y="225"/>
                  </a:lnTo>
                  <a:lnTo>
                    <a:pt x="52" y="225"/>
                  </a:lnTo>
                  <a:lnTo>
                    <a:pt x="69" y="240"/>
                  </a:lnTo>
                  <a:lnTo>
                    <a:pt x="52" y="257"/>
                  </a:lnTo>
                  <a:lnTo>
                    <a:pt x="69" y="257"/>
                  </a:lnTo>
                  <a:lnTo>
                    <a:pt x="69" y="273"/>
                  </a:lnTo>
                  <a:lnTo>
                    <a:pt x="34" y="288"/>
                  </a:lnTo>
                  <a:lnTo>
                    <a:pt x="52" y="305"/>
                  </a:lnTo>
                  <a:lnTo>
                    <a:pt x="69" y="305"/>
                  </a:lnTo>
                  <a:lnTo>
                    <a:pt x="86" y="321"/>
                  </a:lnTo>
                  <a:lnTo>
                    <a:pt x="103" y="305"/>
                  </a:lnTo>
                  <a:lnTo>
                    <a:pt x="103" y="321"/>
                  </a:lnTo>
                  <a:lnTo>
                    <a:pt x="69" y="321"/>
                  </a:lnTo>
                  <a:lnTo>
                    <a:pt x="34" y="369"/>
                  </a:lnTo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3" name="Freeform 245">
              <a:extLst>
                <a:ext uri="{FF2B5EF4-FFF2-40B4-BE49-F238E27FC236}">
                  <a16:creationId xmlns:a16="http://schemas.microsoft.com/office/drawing/2014/main" id="{049CCEBE-5A41-44DE-AD4B-D702FF98E1CC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762500" y="3767138"/>
              <a:ext cx="28575" cy="25400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4202 w 34"/>
                <a:gd name="T5" fmla="*/ 6158 h 33"/>
                <a:gd name="T6" fmla="*/ 8404 w 34"/>
                <a:gd name="T7" fmla="*/ 3079 h 33"/>
                <a:gd name="T8" fmla="*/ 4202 w 34"/>
                <a:gd name="T9" fmla="*/ 0 h 33"/>
                <a:gd name="T10" fmla="*/ 0 w 34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7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4" name="Freeform 246">
              <a:extLst>
                <a:ext uri="{FF2B5EF4-FFF2-40B4-BE49-F238E27FC236}">
                  <a16:creationId xmlns:a16="http://schemas.microsoft.com/office/drawing/2014/main" id="{7ACA860D-238C-4ADD-BCD4-0E6838883F2C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49750" y="4046538"/>
              <a:ext cx="15875" cy="12700"/>
            </a:xfrm>
            <a:custGeom>
              <a:avLst/>
              <a:gdLst>
                <a:gd name="T0" fmla="*/ 0 w 20"/>
                <a:gd name="T1" fmla="*/ 0 h 15"/>
                <a:gd name="T2" fmla="*/ 0 w 20"/>
                <a:gd name="T3" fmla="*/ 0 h 15"/>
                <a:gd name="T4" fmla="*/ 0 w 20"/>
                <a:gd name="T5" fmla="*/ 3387 h 15"/>
                <a:gd name="T6" fmla="*/ 3969 w 20"/>
                <a:gd name="T7" fmla="*/ 0 h 15"/>
                <a:gd name="T8" fmla="*/ 0 w 20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5"/>
                <a:gd name="T17" fmla="*/ 20 w 2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5" name="Freeform 247">
              <a:extLst>
                <a:ext uri="{FF2B5EF4-FFF2-40B4-BE49-F238E27FC236}">
                  <a16:creationId xmlns:a16="http://schemas.microsoft.com/office/drawing/2014/main" id="{3A48437B-7FF1-4DAE-A836-D23FB3884943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611688" y="3449638"/>
              <a:ext cx="274638" cy="255588"/>
            </a:xfrm>
            <a:custGeom>
              <a:avLst/>
              <a:gdLst>
                <a:gd name="T0" fmla="*/ 41395 w 345"/>
                <a:gd name="T1" fmla="*/ 0 h 320"/>
                <a:gd name="T2" fmla="*/ 41395 w 345"/>
                <a:gd name="T3" fmla="*/ 0 h 320"/>
                <a:gd name="T4" fmla="*/ 34230 w 345"/>
                <a:gd name="T5" fmla="*/ 3195 h 320"/>
                <a:gd name="T6" fmla="*/ 34230 w 345"/>
                <a:gd name="T7" fmla="*/ 9585 h 320"/>
                <a:gd name="T8" fmla="*/ 27862 w 345"/>
                <a:gd name="T9" fmla="*/ 12779 h 320"/>
                <a:gd name="T10" fmla="*/ 23882 w 345"/>
                <a:gd name="T11" fmla="*/ 15974 h 320"/>
                <a:gd name="T12" fmla="*/ 20697 w 345"/>
                <a:gd name="T13" fmla="*/ 15974 h 320"/>
                <a:gd name="T14" fmla="*/ 17513 w 345"/>
                <a:gd name="T15" fmla="*/ 12779 h 320"/>
                <a:gd name="T16" fmla="*/ 14329 w 345"/>
                <a:gd name="T17" fmla="*/ 12779 h 320"/>
                <a:gd name="T18" fmla="*/ 17513 w 345"/>
                <a:gd name="T19" fmla="*/ 19169 h 320"/>
                <a:gd name="T20" fmla="*/ 10349 w 345"/>
                <a:gd name="T21" fmla="*/ 22364 h 320"/>
                <a:gd name="T22" fmla="*/ 10349 w 345"/>
                <a:gd name="T23" fmla="*/ 19169 h 320"/>
                <a:gd name="T24" fmla="*/ 0 w 345"/>
                <a:gd name="T25" fmla="*/ 22364 h 320"/>
                <a:gd name="T26" fmla="*/ 0 w 345"/>
                <a:gd name="T27" fmla="*/ 25559 h 320"/>
                <a:gd name="T28" fmla="*/ 14329 w 345"/>
                <a:gd name="T29" fmla="*/ 28754 h 320"/>
                <a:gd name="T30" fmla="*/ 20697 w 345"/>
                <a:gd name="T31" fmla="*/ 39137 h 320"/>
                <a:gd name="T32" fmla="*/ 20697 w 345"/>
                <a:gd name="T33" fmla="*/ 41533 h 320"/>
                <a:gd name="T34" fmla="*/ 17513 w 345"/>
                <a:gd name="T35" fmla="*/ 58306 h 320"/>
                <a:gd name="T36" fmla="*/ 23882 w 345"/>
                <a:gd name="T37" fmla="*/ 60702 h 320"/>
                <a:gd name="T38" fmla="*/ 41395 w 345"/>
                <a:gd name="T39" fmla="*/ 64696 h 320"/>
                <a:gd name="T40" fmla="*/ 41395 w 345"/>
                <a:gd name="T41" fmla="*/ 60702 h 320"/>
                <a:gd name="T42" fmla="*/ 48559 w 345"/>
                <a:gd name="T43" fmla="*/ 58306 h 320"/>
                <a:gd name="T44" fmla="*/ 58908 w 345"/>
                <a:gd name="T45" fmla="*/ 60702 h 320"/>
                <a:gd name="T46" fmla="*/ 62092 w 345"/>
                <a:gd name="T47" fmla="*/ 60702 h 320"/>
                <a:gd name="T48" fmla="*/ 65276 w 345"/>
                <a:gd name="T49" fmla="*/ 55111 h 320"/>
                <a:gd name="T50" fmla="*/ 62092 w 345"/>
                <a:gd name="T51" fmla="*/ 48721 h 320"/>
                <a:gd name="T52" fmla="*/ 62092 w 345"/>
                <a:gd name="T53" fmla="*/ 41533 h 320"/>
                <a:gd name="T54" fmla="*/ 62092 w 345"/>
                <a:gd name="T55" fmla="*/ 35942 h 320"/>
                <a:gd name="T56" fmla="*/ 58908 w 345"/>
                <a:gd name="T57" fmla="*/ 39137 h 320"/>
                <a:gd name="T58" fmla="*/ 58908 w 345"/>
                <a:gd name="T59" fmla="*/ 35942 h 320"/>
                <a:gd name="T60" fmla="*/ 62092 w 345"/>
                <a:gd name="T61" fmla="*/ 28754 h 320"/>
                <a:gd name="T62" fmla="*/ 65276 w 345"/>
                <a:gd name="T63" fmla="*/ 28754 h 320"/>
                <a:gd name="T64" fmla="*/ 69257 w 345"/>
                <a:gd name="T65" fmla="*/ 19169 h 320"/>
                <a:gd name="T66" fmla="*/ 58908 w 345"/>
                <a:gd name="T67" fmla="*/ 12779 h 320"/>
                <a:gd name="T68" fmla="*/ 54928 w 345"/>
                <a:gd name="T69" fmla="*/ 12779 h 320"/>
                <a:gd name="T70" fmla="*/ 51743 w 345"/>
                <a:gd name="T71" fmla="*/ 12779 h 320"/>
                <a:gd name="T72" fmla="*/ 51743 w 345"/>
                <a:gd name="T73" fmla="*/ 9585 h 320"/>
                <a:gd name="T74" fmla="*/ 48559 w 345"/>
                <a:gd name="T75" fmla="*/ 9585 h 320"/>
                <a:gd name="T76" fmla="*/ 48559 w 345"/>
                <a:gd name="T77" fmla="*/ 6390 h 320"/>
                <a:gd name="T78" fmla="*/ 41395 w 345"/>
                <a:gd name="T79" fmla="*/ 3195 h 320"/>
                <a:gd name="T80" fmla="*/ 41395 w 345"/>
                <a:gd name="T81" fmla="*/ 0 h 3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5"/>
                <a:gd name="T124" fmla="*/ 0 h 320"/>
                <a:gd name="T125" fmla="*/ 345 w 345"/>
                <a:gd name="T126" fmla="*/ 320 h 3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5" h="320">
                  <a:moveTo>
                    <a:pt x="207" y="0"/>
                  </a:moveTo>
                  <a:lnTo>
                    <a:pt x="207" y="0"/>
                  </a:lnTo>
                  <a:lnTo>
                    <a:pt x="172" y="15"/>
                  </a:lnTo>
                  <a:lnTo>
                    <a:pt x="172" y="48"/>
                  </a:lnTo>
                  <a:lnTo>
                    <a:pt x="138" y="63"/>
                  </a:lnTo>
                  <a:lnTo>
                    <a:pt x="120" y="80"/>
                  </a:lnTo>
                  <a:lnTo>
                    <a:pt x="103" y="80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86" y="96"/>
                  </a:lnTo>
                  <a:lnTo>
                    <a:pt x="51" y="111"/>
                  </a:lnTo>
                  <a:lnTo>
                    <a:pt x="51" y="96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69" y="144"/>
                  </a:lnTo>
                  <a:lnTo>
                    <a:pt x="103" y="192"/>
                  </a:lnTo>
                  <a:lnTo>
                    <a:pt x="103" y="207"/>
                  </a:lnTo>
                  <a:lnTo>
                    <a:pt x="86" y="288"/>
                  </a:lnTo>
                  <a:lnTo>
                    <a:pt x="120" y="303"/>
                  </a:lnTo>
                  <a:lnTo>
                    <a:pt x="207" y="320"/>
                  </a:lnTo>
                  <a:lnTo>
                    <a:pt x="207" y="303"/>
                  </a:lnTo>
                  <a:lnTo>
                    <a:pt x="241" y="288"/>
                  </a:lnTo>
                  <a:lnTo>
                    <a:pt x="293" y="303"/>
                  </a:lnTo>
                  <a:lnTo>
                    <a:pt x="311" y="303"/>
                  </a:lnTo>
                  <a:lnTo>
                    <a:pt x="328" y="272"/>
                  </a:lnTo>
                  <a:lnTo>
                    <a:pt x="311" y="240"/>
                  </a:lnTo>
                  <a:lnTo>
                    <a:pt x="311" y="207"/>
                  </a:lnTo>
                  <a:lnTo>
                    <a:pt x="311" y="176"/>
                  </a:lnTo>
                  <a:lnTo>
                    <a:pt x="293" y="192"/>
                  </a:lnTo>
                  <a:lnTo>
                    <a:pt x="293" y="176"/>
                  </a:lnTo>
                  <a:lnTo>
                    <a:pt x="311" y="144"/>
                  </a:lnTo>
                  <a:lnTo>
                    <a:pt x="328" y="144"/>
                  </a:lnTo>
                  <a:lnTo>
                    <a:pt x="345" y="96"/>
                  </a:lnTo>
                  <a:lnTo>
                    <a:pt x="293" y="63"/>
                  </a:lnTo>
                  <a:lnTo>
                    <a:pt x="276" y="63"/>
                  </a:lnTo>
                  <a:lnTo>
                    <a:pt x="259" y="63"/>
                  </a:lnTo>
                  <a:lnTo>
                    <a:pt x="259" y="48"/>
                  </a:lnTo>
                  <a:lnTo>
                    <a:pt x="241" y="48"/>
                  </a:lnTo>
                  <a:lnTo>
                    <a:pt x="241" y="32"/>
                  </a:lnTo>
                  <a:lnTo>
                    <a:pt x="207" y="15"/>
                  </a:lnTo>
                  <a:lnTo>
                    <a:pt x="207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6" name="Freeform 248">
              <a:extLst>
                <a:ext uri="{FF2B5EF4-FFF2-40B4-BE49-F238E27FC236}">
                  <a16:creationId xmlns:a16="http://schemas.microsoft.com/office/drawing/2014/main" id="{0DA58329-DF60-4F4A-B6C7-670DD798F8DC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06900" y="4046538"/>
              <a:ext cx="11113" cy="12700"/>
            </a:xfrm>
            <a:custGeom>
              <a:avLst/>
              <a:gdLst>
                <a:gd name="T0" fmla="*/ 2084 w 16"/>
                <a:gd name="T1" fmla="*/ 0 h 15"/>
                <a:gd name="T2" fmla="*/ 2084 w 16"/>
                <a:gd name="T3" fmla="*/ 0 h 15"/>
                <a:gd name="T4" fmla="*/ 0 w 16"/>
                <a:gd name="T5" fmla="*/ 3387 h 15"/>
                <a:gd name="T6" fmla="*/ 2084 w 16"/>
                <a:gd name="T7" fmla="*/ 3387 h 15"/>
                <a:gd name="T8" fmla="*/ 2084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16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7" name="Freeform 249">
              <a:extLst>
                <a:ext uri="{FF2B5EF4-FFF2-40B4-BE49-F238E27FC236}">
                  <a16:creationId xmlns:a16="http://schemas.microsoft.com/office/drawing/2014/main" id="{418FF3EF-EA00-4726-B9FD-C5721ADF75D6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886325" y="3233738"/>
              <a:ext cx="69850" cy="90488"/>
            </a:xfrm>
            <a:custGeom>
              <a:avLst/>
              <a:gdLst>
                <a:gd name="T0" fmla="*/ 3969 w 88"/>
                <a:gd name="T1" fmla="*/ 23019 h 114"/>
                <a:gd name="T2" fmla="*/ 3969 w 88"/>
                <a:gd name="T3" fmla="*/ 23019 h 114"/>
                <a:gd name="T4" fmla="*/ 7938 w 88"/>
                <a:gd name="T5" fmla="*/ 23019 h 114"/>
                <a:gd name="T6" fmla="*/ 10319 w 88"/>
                <a:gd name="T7" fmla="*/ 23019 h 114"/>
                <a:gd name="T8" fmla="*/ 14288 w 88"/>
                <a:gd name="T9" fmla="*/ 13494 h 114"/>
                <a:gd name="T10" fmla="*/ 17463 w 88"/>
                <a:gd name="T11" fmla="*/ 13494 h 114"/>
                <a:gd name="T12" fmla="*/ 17463 w 88"/>
                <a:gd name="T13" fmla="*/ 9525 h 114"/>
                <a:gd name="T14" fmla="*/ 14288 w 88"/>
                <a:gd name="T15" fmla="*/ 9525 h 114"/>
                <a:gd name="T16" fmla="*/ 14288 w 88"/>
                <a:gd name="T17" fmla="*/ 0 h 114"/>
                <a:gd name="T18" fmla="*/ 3969 w 88"/>
                <a:gd name="T19" fmla="*/ 3969 h 114"/>
                <a:gd name="T20" fmla="*/ 0 w 88"/>
                <a:gd name="T21" fmla="*/ 9525 h 114"/>
                <a:gd name="T22" fmla="*/ 0 w 88"/>
                <a:gd name="T23" fmla="*/ 16669 h 114"/>
                <a:gd name="T24" fmla="*/ 3969 w 88"/>
                <a:gd name="T25" fmla="*/ 19050 h 114"/>
                <a:gd name="T26" fmla="*/ 3969 w 88"/>
                <a:gd name="T27" fmla="*/ 23019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114"/>
                <a:gd name="T44" fmla="*/ 88 w 88"/>
                <a:gd name="T45" fmla="*/ 114 h 1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114">
                  <a:moveTo>
                    <a:pt x="19" y="114"/>
                  </a:moveTo>
                  <a:lnTo>
                    <a:pt x="19" y="114"/>
                  </a:lnTo>
                  <a:lnTo>
                    <a:pt x="37" y="114"/>
                  </a:lnTo>
                  <a:lnTo>
                    <a:pt x="54" y="114"/>
                  </a:lnTo>
                  <a:lnTo>
                    <a:pt x="71" y="66"/>
                  </a:lnTo>
                  <a:lnTo>
                    <a:pt x="88" y="66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0"/>
                  </a:lnTo>
                  <a:lnTo>
                    <a:pt x="19" y="1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9" y="96"/>
                  </a:lnTo>
                  <a:lnTo>
                    <a:pt x="19" y="1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8" name="Freeform 250">
              <a:extLst>
                <a:ext uri="{FF2B5EF4-FFF2-40B4-BE49-F238E27FC236}">
                  <a16:creationId xmlns:a16="http://schemas.microsoft.com/office/drawing/2014/main" id="{BE1B0387-F0E2-457D-85D9-EE83E5F906D3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791075" y="3373438"/>
              <a:ext cx="80963" cy="88900"/>
            </a:xfrm>
            <a:custGeom>
              <a:avLst/>
              <a:gdLst>
                <a:gd name="T0" fmla="*/ 13234 w 104"/>
                <a:gd name="T1" fmla="*/ 22425 h 111"/>
                <a:gd name="T2" fmla="*/ 13234 w 104"/>
                <a:gd name="T3" fmla="*/ 22425 h 111"/>
                <a:gd name="T4" fmla="*/ 13234 w 104"/>
                <a:gd name="T5" fmla="*/ 12814 h 111"/>
                <a:gd name="T6" fmla="*/ 16348 w 104"/>
                <a:gd name="T7" fmla="*/ 9611 h 111"/>
                <a:gd name="T8" fmla="*/ 19462 w 104"/>
                <a:gd name="T9" fmla="*/ 0 h 111"/>
                <a:gd name="T10" fmla="*/ 10120 w 104"/>
                <a:gd name="T11" fmla="*/ 3204 h 111"/>
                <a:gd name="T12" fmla="*/ 13234 w 104"/>
                <a:gd name="T13" fmla="*/ 9611 h 111"/>
                <a:gd name="T14" fmla="*/ 10120 w 104"/>
                <a:gd name="T15" fmla="*/ 9611 h 111"/>
                <a:gd name="T16" fmla="*/ 10120 w 104"/>
                <a:gd name="T17" fmla="*/ 6407 h 111"/>
                <a:gd name="T18" fmla="*/ 6228 w 104"/>
                <a:gd name="T19" fmla="*/ 6407 h 111"/>
                <a:gd name="T20" fmla="*/ 0 w 104"/>
                <a:gd name="T21" fmla="*/ 19222 h 111"/>
                <a:gd name="T22" fmla="*/ 10120 w 104"/>
                <a:gd name="T23" fmla="*/ 19222 h 111"/>
                <a:gd name="T24" fmla="*/ 13234 w 104"/>
                <a:gd name="T25" fmla="*/ 22425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69" y="111"/>
                  </a:moveTo>
                  <a:lnTo>
                    <a:pt x="69" y="111"/>
                  </a:lnTo>
                  <a:lnTo>
                    <a:pt x="69" y="63"/>
                  </a:lnTo>
                  <a:lnTo>
                    <a:pt x="87" y="48"/>
                  </a:lnTo>
                  <a:lnTo>
                    <a:pt x="104" y="0"/>
                  </a:lnTo>
                  <a:lnTo>
                    <a:pt x="52" y="15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52" y="32"/>
                  </a:lnTo>
                  <a:lnTo>
                    <a:pt x="35" y="32"/>
                  </a:lnTo>
                  <a:lnTo>
                    <a:pt x="0" y="96"/>
                  </a:lnTo>
                  <a:lnTo>
                    <a:pt x="52" y="96"/>
                  </a:lnTo>
                  <a:lnTo>
                    <a:pt x="69" y="111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89" name="Freeform 251">
              <a:extLst>
                <a:ext uri="{FF2B5EF4-FFF2-40B4-BE49-F238E27FC236}">
                  <a16:creationId xmlns:a16="http://schemas.microsoft.com/office/drawing/2014/main" id="{A043F0F5-FB93-4910-A2B5-9FEF7BCE600E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775200" y="3449638"/>
              <a:ext cx="69850" cy="50800"/>
            </a:xfrm>
            <a:custGeom>
              <a:avLst/>
              <a:gdLst>
                <a:gd name="T0" fmla="*/ 14288 w 88"/>
                <a:gd name="T1" fmla="*/ 12902 h 63"/>
                <a:gd name="T2" fmla="*/ 14288 w 88"/>
                <a:gd name="T3" fmla="*/ 12902 h 63"/>
                <a:gd name="T4" fmla="*/ 10319 w 88"/>
                <a:gd name="T5" fmla="*/ 12902 h 63"/>
                <a:gd name="T6" fmla="*/ 10319 w 88"/>
                <a:gd name="T7" fmla="*/ 9676 h 63"/>
                <a:gd name="T8" fmla="*/ 7144 w 88"/>
                <a:gd name="T9" fmla="*/ 9676 h 63"/>
                <a:gd name="T10" fmla="*/ 7144 w 88"/>
                <a:gd name="T11" fmla="*/ 6451 h 63"/>
                <a:gd name="T12" fmla="*/ 0 w 88"/>
                <a:gd name="T13" fmla="*/ 3225 h 63"/>
                <a:gd name="T14" fmla="*/ 0 w 88"/>
                <a:gd name="T15" fmla="*/ 0 h 63"/>
                <a:gd name="T16" fmla="*/ 3969 w 88"/>
                <a:gd name="T17" fmla="*/ 0 h 63"/>
                <a:gd name="T18" fmla="*/ 14288 w 88"/>
                <a:gd name="T19" fmla="*/ 0 h 63"/>
                <a:gd name="T20" fmla="*/ 17463 w 88"/>
                <a:gd name="T21" fmla="*/ 3225 h 63"/>
                <a:gd name="T22" fmla="*/ 17463 w 88"/>
                <a:gd name="T23" fmla="*/ 9676 h 63"/>
                <a:gd name="T24" fmla="*/ 14288 w 88"/>
                <a:gd name="T25" fmla="*/ 9676 h 63"/>
                <a:gd name="T26" fmla="*/ 14288 w 88"/>
                <a:gd name="T27" fmla="*/ 12902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63"/>
                <a:gd name="T44" fmla="*/ 88 w 88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63">
                  <a:moveTo>
                    <a:pt x="71" y="63"/>
                  </a:moveTo>
                  <a:lnTo>
                    <a:pt x="71" y="63"/>
                  </a:lnTo>
                  <a:lnTo>
                    <a:pt x="54" y="63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36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71" y="0"/>
                  </a:lnTo>
                  <a:lnTo>
                    <a:pt x="88" y="15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6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0" name="Freeform 252">
              <a:extLst>
                <a:ext uri="{FF2B5EF4-FFF2-40B4-BE49-F238E27FC236}">
                  <a16:creationId xmlns:a16="http://schemas.microsoft.com/office/drawing/2014/main" id="{05B57C96-A0E2-4D3D-AC2C-CCD8253995CB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913313" y="3514726"/>
              <a:ext cx="166688" cy="76200"/>
            </a:xfrm>
            <a:custGeom>
              <a:avLst/>
              <a:gdLst>
                <a:gd name="T0" fmla="*/ 0 w 209"/>
                <a:gd name="T1" fmla="*/ 12700 h 96"/>
                <a:gd name="T2" fmla="*/ 0 w 209"/>
                <a:gd name="T3" fmla="*/ 12700 h 96"/>
                <a:gd name="T4" fmla="*/ 7178 w 209"/>
                <a:gd name="T5" fmla="*/ 12700 h 96"/>
                <a:gd name="T6" fmla="*/ 21534 w 209"/>
                <a:gd name="T7" fmla="*/ 9525 h 96"/>
                <a:gd name="T8" fmla="*/ 21534 w 209"/>
                <a:gd name="T9" fmla="*/ 5556 h 96"/>
                <a:gd name="T10" fmla="*/ 24724 w 209"/>
                <a:gd name="T11" fmla="*/ 3175 h 96"/>
                <a:gd name="T12" fmla="*/ 31902 w 209"/>
                <a:gd name="T13" fmla="*/ 3175 h 96"/>
                <a:gd name="T14" fmla="*/ 31902 w 209"/>
                <a:gd name="T15" fmla="*/ 0 h 96"/>
                <a:gd name="T16" fmla="*/ 42270 w 209"/>
                <a:gd name="T17" fmla="*/ 3175 h 96"/>
                <a:gd name="T18" fmla="*/ 42270 w 209"/>
                <a:gd name="T19" fmla="*/ 9525 h 96"/>
                <a:gd name="T20" fmla="*/ 38282 w 209"/>
                <a:gd name="T21" fmla="*/ 15875 h 96"/>
                <a:gd name="T22" fmla="*/ 24724 w 209"/>
                <a:gd name="T23" fmla="*/ 19050 h 96"/>
                <a:gd name="T24" fmla="*/ 17546 w 209"/>
                <a:gd name="T25" fmla="*/ 15875 h 96"/>
                <a:gd name="T26" fmla="*/ 7178 w 209"/>
                <a:gd name="T27" fmla="*/ 15875 h 96"/>
                <a:gd name="T28" fmla="*/ 3988 w 209"/>
                <a:gd name="T29" fmla="*/ 15875 h 96"/>
                <a:gd name="T30" fmla="*/ 0 w 209"/>
                <a:gd name="T31" fmla="*/ 12700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0" y="64"/>
                  </a:moveTo>
                  <a:lnTo>
                    <a:pt x="0" y="64"/>
                  </a:lnTo>
                  <a:lnTo>
                    <a:pt x="34" y="64"/>
                  </a:lnTo>
                  <a:lnTo>
                    <a:pt x="105" y="48"/>
                  </a:lnTo>
                  <a:lnTo>
                    <a:pt x="105" y="31"/>
                  </a:lnTo>
                  <a:lnTo>
                    <a:pt x="123" y="16"/>
                  </a:lnTo>
                  <a:lnTo>
                    <a:pt x="157" y="16"/>
                  </a:lnTo>
                  <a:lnTo>
                    <a:pt x="157" y="0"/>
                  </a:lnTo>
                  <a:lnTo>
                    <a:pt x="209" y="16"/>
                  </a:lnTo>
                  <a:lnTo>
                    <a:pt x="209" y="48"/>
                  </a:lnTo>
                  <a:lnTo>
                    <a:pt x="192" y="79"/>
                  </a:lnTo>
                  <a:lnTo>
                    <a:pt x="123" y="96"/>
                  </a:lnTo>
                  <a:lnTo>
                    <a:pt x="88" y="79"/>
                  </a:lnTo>
                  <a:lnTo>
                    <a:pt x="34" y="79"/>
                  </a:lnTo>
                  <a:lnTo>
                    <a:pt x="17" y="79"/>
                  </a:lnTo>
                  <a:lnTo>
                    <a:pt x="0" y="64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1" name="Freeform 253">
              <a:extLst>
                <a:ext uri="{FF2B5EF4-FFF2-40B4-BE49-F238E27FC236}">
                  <a16:creationId xmlns:a16="http://schemas.microsoft.com/office/drawing/2014/main" id="{CBF5B02E-6DA2-484B-87C0-0186F5A27B63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4845050" y="3563938"/>
              <a:ext cx="98425" cy="50800"/>
            </a:xfrm>
            <a:custGeom>
              <a:avLst/>
              <a:gdLst>
                <a:gd name="T0" fmla="*/ 7202 w 123"/>
                <a:gd name="T1" fmla="*/ 12902 h 63"/>
                <a:gd name="T2" fmla="*/ 7202 w 123"/>
                <a:gd name="T3" fmla="*/ 12902 h 63"/>
                <a:gd name="T4" fmla="*/ 14404 w 123"/>
                <a:gd name="T5" fmla="*/ 9676 h 63"/>
                <a:gd name="T6" fmla="*/ 18405 w 123"/>
                <a:gd name="T7" fmla="*/ 9676 h 63"/>
                <a:gd name="T8" fmla="*/ 18405 w 123"/>
                <a:gd name="T9" fmla="*/ 6451 h 63"/>
                <a:gd name="T10" fmla="*/ 21605 w 123"/>
                <a:gd name="T11" fmla="*/ 9676 h 63"/>
                <a:gd name="T12" fmla="*/ 24806 w 123"/>
                <a:gd name="T13" fmla="*/ 3225 h 63"/>
                <a:gd name="T14" fmla="*/ 21605 w 123"/>
                <a:gd name="T15" fmla="*/ 3225 h 63"/>
                <a:gd name="T16" fmla="*/ 18405 w 123"/>
                <a:gd name="T17" fmla="*/ 0 h 63"/>
                <a:gd name="T18" fmla="*/ 7202 w 123"/>
                <a:gd name="T19" fmla="*/ 0 h 63"/>
                <a:gd name="T20" fmla="*/ 4001 w 123"/>
                <a:gd name="T21" fmla="*/ 0 h 63"/>
                <a:gd name="T22" fmla="*/ 0 w 123"/>
                <a:gd name="T23" fmla="*/ 6451 h 63"/>
                <a:gd name="T24" fmla="*/ 0 w 123"/>
                <a:gd name="T25" fmla="*/ 9676 h 63"/>
                <a:gd name="T26" fmla="*/ 4001 w 123"/>
                <a:gd name="T27" fmla="*/ 6451 h 63"/>
                <a:gd name="T28" fmla="*/ 4001 w 123"/>
                <a:gd name="T29" fmla="*/ 12902 h 63"/>
                <a:gd name="T30" fmla="*/ 7202 w 123"/>
                <a:gd name="T31" fmla="*/ 12902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63"/>
                <a:gd name="T50" fmla="*/ 123 w 123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63">
                  <a:moveTo>
                    <a:pt x="35" y="63"/>
                  </a:moveTo>
                  <a:lnTo>
                    <a:pt x="35" y="63"/>
                  </a:lnTo>
                  <a:lnTo>
                    <a:pt x="71" y="48"/>
                  </a:lnTo>
                  <a:lnTo>
                    <a:pt x="89" y="48"/>
                  </a:lnTo>
                  <a:lnTo>
                    <a:pt x="89" y="32"/>
                  </a:lnTo>
                  <a:lnTo>
                    <a:pt x="106" y="48"/>
                  </a:lnTo>
                  <a:lnTo>
                    <a:pt x="123" y="15"/>
                  </a:lnTo>
                  <a:lnTo>
                    <a:pt x="106" y="15"/>
                  </a:lnTo>
                  <a:lnTo>
                    <a:pt x="89" y="0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18" y="32"/>
                  </a:lnTo>
                  <a:lnTo>
                    <a:pt x="18" y="63"/>
                  </a:lnTo>
                  <a:lnTo>
                    <a:pt x="35" y="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2" name="Freeform 254">
              <a:extLst>
                <a:ext uri="{FF2B5EF4-FFF2-40B4-BE49-F238E27FC236}">
                  <a16:creationId xmlns:a16="http://schemas.microsoft.com/office/drawing/2014/main" id="{5344FBFA-52D1-490A-8C92-E388E0661EC5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557713" y="3195638"/>
              <a:ext cx="25400" cy="38100"/>
            </a:xfrm>
            <a:custGeom>
              <a:avLst/>
              <a:gdLst>
                <a:gd name="T0" fmla="*/ 0 w 33"/>
                <a:gd name="T1" fmla="*/ 9525 h 48"/>
                <a:gd name="T2" fmla="*/ 3079 w 33"/>
                <a:gd name="T3" fmla="*/ 3969 h 48"/>
                <a:gd name="T4" fmla="*/ 6158 w 33"/>
                <a:gd name="T5" fmla="*/ 0 h 48"/>
                <a:gd name="T6" fmla="*/ 0 w 33"/>
                <a:gd name="T7" fmla="*/ 3969 h 48"/>
                <a:gd name="T8" fmla="*/ 0 w 33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48"/>
                <a:gd name="T17" fmla="*/ 33 w 33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48">
                  <a:moveTo>
                    <a:pt x="0" y="48"/>
                  </a:moveTo>
                  <a:lnTo>
                    <a:pt x="18" y="18"/>
                  </a:lnTo>
                  <a:lnTo>
                    <a:pt x="33" y="0"/>
                  </a:lnTo>
                  <a:lnTo>
                    <a:pt x="0" y="18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3" name="Freeform 255">
              <a:extLst>
                <a:ext uri="{FF2B5EF4-FFF2-40B4-BE49-F238E27FC236}">
                  <a16:creationId xmlns:a16="http://schemas.microsoft.com/office/drawing/2014/main" id="{46D64840-BD5A-4A64-9EA1-F1ED80BB366F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679950" y="3119438"/>
              <a:ext cx="14288" cy="14288"/>
            </a:xfrm>
            <a:custGeom>
              <a:avLst/>
              <a:gdLst>
                <a:gd name="T0" fmla="*/ 0 w 17"/>
                <a:gd name="T1" fmla="*/ 3969 h 18"/>
                <a:gd name="T2" fmla="*/ 0 w 17"/>
                <a:gd name="T3" fmla="*/ 3969 h 18"/>
                <a:gd name="T4" fmla="*/ 4202 w 17"/>
                <a:gd name="T5" fmla="*/ 0 h 18"/>
                <a:gd name="T6" fmla="*/ 4202 w 17"/>
                <a:gd name="T7" fmla="*/ 3969 h 18"/>
                <a:gd name="T8" fmla="*/ 0 w 17"/>
                <a:gd name="T9" fmla="*/ 396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8"/>
                  </a:moveTo>
                  <a:lnTo>
                    <a:pt x="0" y="18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4" name="Line 256">
              <a:extLst>
                <a:ext uri="{FF2B5EF4-FFF2-40B4-BE49-F238E27FC236}">
                  <a16:creationId xmlns:a16="http://schemas.microsoft.com/office/drawing/2014/main" id="{43B8B568-BF92-4F01-B79A-E7E3D6A365BF}"/>
                </a:ext>
              </a:extLst>
            </p:cNvPr>
            <p:cNvSpPr>
              <a:spLocks noChangeShapeType="1"/>
            </p:cNvSpPr>
            <p:nvPr>
              <p:custDataLst>
                <p:tags r:id="rId255"/>
              </p:custDataLst>
            </p:nvPr>
          </p:nvSpPr>
          <p:spPr bwMode="auto">
            <a:xfrm>
              <a:off x="4645025" y="3189288"/>
              <a:ext cx="14288" cy="12700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5" name="Freeform 257">
              <a:extLst>
                <a:ext uri="{FF2B5EF4-FFF2-40B4-BE49-F238E27FC236}">
                  <a16:creationId xmlns:a16="http://schemas.microsoft.com/office/drawing/2014/main" id="{25EB2912-A11B-408E-9661-355BC1124AEA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845050" y="3324226"/>
              <a:ext cx="193675" cy="239713"/>
            </a:xfrm>
            <a:custGeom>
              <a:avLst/>
              <a:gdLst>
                <a:gd name="T0" fmla="*/ 27781 w 244"/>
                <a:gd name="T1" fmla="*/ 8702 h 303"/>
                <a:gd name="T2" fmla="*/ 27781 w 244"/>
                <a:gd name="T3" fmla="*/ 8702 h 303"/>
                <a:gd name="T4" fmla="*/ 42069 w 244"/>
                <a:gd name="T5" fmla="*/ 2373 h 303"/>
                <a:gd name="T6" fmla="*/ 42069 w 244"/>
                <a:gd name="T7" fmla="*/ 5538 h 303"/>
                <a:gd name="T8" fmla="*/ 38100 w 244"/>
                <a:gd name="T9" fmla="*/ 5538 h 303"/>
                <a:gd name="T10" fmla="*/ 45244 w 244"/>
                <a:gd name="T11" fmla="*/ 8702 h 303"/>
                <a:gd name="T12" fmla="*/ 48419 w 244"/>
                <a:gd name="T13" fmla="*/ 34019 h 303"/>
                <a:gd name="T14" fmla="*/ 45244 w 244"/>
                <a:gd name="T15" fmla="*/ 30854 h 303"/>
                <a:gd name="T16" fmla="*/ 38100 w 244"/>
                <a:gd name="T17" fmla="*/ 34019 h 303"/>
                <a:gd name="T18" fmla="*/ 31750 w 244"/>
                <a:gd name="T19" fmla="*/ 37183 h 303"/>
                <a:gd name="T20" fmla="*/ 34925 w 244"/>
                <a:gd name="T21" fmla="*/ 43512 h 303"/>
                <a:gd name="T22" fmla="*/ 42069 w 244"/>
                <a:gd name="T23" fmla="*/ 49841 h 303"/>
                <a:gd name="T24" fmla="*/ 38100 w 244"/>
                <a:gd name="T25" fmla="*/ 53006 h 303"/>
                <a:gd name="T26" fmla="*/ 38100 w 244"/>
                <a:gd name="T27" fmla="*/ 56170 h 303"/>
                <a:gd name="T28" fmla="*/ 24606 w 244"/>
                <a:gd name="T29" fmla="*/ 59335 h 303"/>
                <a:gd name="T30" fmla="*/ 18256 w 244"/>
                <a:gd name="T31" fmla="*/ 59335 h 303"/>
                <a:gd name="T32" fmla="*/ 7144 w 244"/>
                <a:gd name="T33" fmla="*/ 59335 h 303"/>
                <a:gd name="T34" fmla="*/ 11113 w 244"/>
                <a:gd name="T35" fmla="*/ 49841 h 303"/>
                <a:gd name="T36" fmla="*/ 0 w 244"/>
                <a:gd name="T37" fmla="*/ 43512 h 303"/>
                <a:gd name="T38" fmla="*/ 0 w 244"/>
                <a:gd name="T39" fmla="*/ 40348 h 303"/>
                <a:gd name="T40" fmla="*/ 0 w 244"/>
                <a:gd name="T41" fmla="*/ 34019 h 303"/>
                <a:gd name="T42" fmla="*/ 0 w 244"/>
                <a:gd name="T43" fmla="*/ 24525 h 303"/>
                <a:gd name="T44" fmla="*/ 3969 w 244"/>
                <a:gd name="T45" fmla="*/ 21361 h 303"/>
                <a:gd name="T46" fmla="*/ 7144 w 244"/>
                <a:gd name="T47" fmla="*/ 11867 h 303"/>
                <a:gd name="T48" fmla="*/ 14288 w 244"/>
                <a:gd name="T49" fmla="*/ 11867 h 303"/>
                <a:gd name="T50" fmla="*/ 18256 w 244"/>
                <a:gd name="T51" fmla="*/ 5538 h 303"/>
                <a:gd name="T52" fmla="*/ 14288 w 244"/>
                <a:gd name="T53" fmla="*/ 5538 h 303"/>
                <a:gd name="T54" fmla="*/ 18256 w 244"/>
                <a:gd name="T55" fmla="*/ 2373 h 303"/>
                <a:gd name="T56" fmla="*/ 14288 w 244"/>
                <a:gd name="T57" fmla="*/ 0 h 303"/>
                <a:gd name="T58" fmla="*/ 18256 w 244"/>
                <a:gd name="T59" fmla="*/ 0 h 303"/>
                <a:gd name="T60" fmla="*/ 21431 w 244"/>
                <a:gd name="T61" fmla="*/ 0 h 303"/>
                <a:gd name="T62" fmla="*/ 21431 w 244"/>
                <a:gd name="T63" fmla="*/ 2373 h 303"/>
                <a:gd name="T64" fmla="*/ 27781 w 244"/>
                <a:gd name="T65" fmla="*/ 5538 h 303"/>
                <a:gd name="T66" fmla="*/ 24606 w 244"/>
                <a:gd name="T67" fmla="*/ 8702 h 303"/>
                <a:gd name="T68" fmla="*/ 27781 w 244"/>
                <a:gd name="T69" fmla="*/ 8702 h 30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303"/>
                <a:gd name="T107" fmla="*/ 244 w 244"/>
                <a:gd name="T108" fmla="*/ 303 h 30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303">
                  <a:moveTo>
                    <a:pt x="140" y="47"/>
                  </a:moveTo>
                  <a:lnTo>
                    <a:pt x="140" y="47"/>
                  </a:lnTo>
                  <a:lnTo>
                    <a:pt x="210" y="15"/>
                  </a:lnTo>
                  <a:lnTo>
                    <a:pt x="210" y="30"/>
                  </a:lnTo>
                  <a:lnTo>
                    <a:pt x="192" y="30"/>
                  </a:lnTo>
                  <a:lnTo>
                    <a:pt x="227" y="47"/>
                  </a:lnTo>
                  <a:lnTo>
                    <a:pt x="244" y="174"/>
                  </a:lnTo>
                  <a:lnTo>
                    <a:pt x="227" y="159"/>
                  </a:lnTo>
                  <a:lnTo>
                    <a:pt x="192" y="174"/>
                  </a:lnTo>
                  <a:lnTo>
                    <a:pt x="158" y="191"/>
                  </a:lnTo>
                  <a:lnTo>
                    <a:pt x="175" y="222"/>
                  </a:lnTo>
                  <a:lnTo>
                    <a:pt x="210" y="255"/>
                  </a:lnTo>
                  <a:lnTo>
                    <a:pt x="192" y="270"/>
                  </a:lnTo>
                  <a:lnTo>
                    <a:pt x="192" y="287"/>
                  </a:lnTo>
                  <a:lnTo>
                    <a:pt x="123" y="303"/>
                  </a:lnTo>
                  <a:lnTo>
                    <a:pt x="89" y="303"/>
                  </a:lnTo>
                  <a:lnTo>
                    <a:pt x="35" y="303"/>
                  </a:lnTo>
                  <a:lnTo>
                    <a:pt x="54" y="255"/>
                  </a:lnTo>
                  <a:lnTo>
                    <a:pt x="0" y="222"/>
                  </a:lnTo>
                  <a:lnTo>
                    <a:pt x="0" y="207"/>
                  </a:lnTo>
                  <a:lnTo>
                    <a:pt x="0" y="174"/>
                  </a:lnTo>
                  <a:lnTo>
                    <a:pt x="0" y="126"/>
                  </a:lnTo>
                  <a:lnTo>
                    <a:pt x="18" y="111"/>
                  </a:lnTo>
                  <a:lnTo>
                    <a:pt x="35" y="63"/>
                  </a:lnTo>
                  <a:lnTo>
                    <a:pt x="71" y="63"/>
                  </a:lnTo>
                  <a:lnTo>
                    <a:pt x="89" y="30"/>
                  </a:lnTo>
                  <a:lnTo>
                    <a:pt x="71" y="30"/>
                  </a:lnTo>
                  <a:lnTo>
                    <a:pt x="89" y="15"/>
                  </a:lnTo>
                  <a:lnTo>
                    <a:pt x="71" y="0"/>
                  </a:lnTo>
                  <a:lnTo>
                    <a:pt x="89" y="0"/>
                  </a:lnTo>
                  <a:lnTo>
                    <a:pt x="106" y="0"/>
                  </a:lnTo>
                  <a:lnTo>
                    <a:pt x="106" y="15"/>
                  </a:lnTo>
                  <a:lnTo>
                    <a:pt x="140" y="30"/>
                  </a:lnTo>
                  <a:lnTo>
                    <a:pt x="123" y="47"/>
                  </a:lnTo>
                  <a:lnTo>
                    <a:pt x="140" y="47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6" name="Freeform 258">
              <a:extLst>
                <a:ext uri="{FF2B5EF4-FFF2-40B4-BE49-F238E27FC236}">
                  <a16:creationId xmlns:a16="http://schemas.microsoft.com/office/drawing/2014/main" id="{66320613-EC97-48BB-ACF2-373F7C48234E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859338" y="3576638"/>
              <a:ext cx="261938" cy="242888"/>
            </a:xfrm>
            <a:custGeom>
              <a:avLst/>
              <a:gdLst>
                <a:gd name="T0" fmla="*/ 3969 w 330"/>
                <a:gd name="T1" fmla="*/ 23094 h 305"/>
                <a:gd name="T2" fmla="*/ 3969 w 330"/>
                <a:gd name="T3" fmla="*/ 23094 h 305"/>
                <a:gd name="T4" fmla="*/ 9525 w 330"/>
                <a:gd name="T5" fmla="*/ 19112 h 305"/>
                <a:gd name="T6" fmla="*/ 16669 w 330"/>
                <a:gd name="T7" fmla="*/ 23094 h 305"/>
                <a:gd name="T8" fmla="*/ 23813 w 330"/>
                <a:gd name="T9" fmla="*/ 32651 h 305"/>
                <a:gd name="T10" fmla="*/ 27781 w 330"/>
                <a:gd name="T11" fmla="*/ 32651 h 305"/>
                <a:gd name="T12" fmla="*/ 30956 w 330"/>
                <a:gd name="T13" fmla="*/ 38225 h 305"/>
                <a:gd name="T14" fmla="*/ 38100 w 330"/>
                <a:gd name="T15" fmla="*/ 42207 h 305"/>
                <a:gd name="T16" fmla="*/ 44450 w 330"/>
                <a:gd name="T17" fmla="*/ 47781 h 305"/>
                <a:gd name="T18" fmla="*/ 47625 w 330"/>
                <a:gd name="T19" fmla="*/ 47781 h 305"/>
                <a:gd name="T20" fmla="*/ 52388 w 330"/>
                <a:gd name="T21" fmla="*/ 57337 h 305"/>
                <a:gd name="T22" fmla="*/ 47625 w 330"/>
                <a:gd name="T23" fmla="*/ 61319 h 305"/>
                <a:gd name="T24" fmla="*/ 52388 w 330"/>
                <a:gd name="T25" fmla="*/ 61319 h 305"/>
                <a:gd name="T26" fmla="*/ 55563 w 330"/>
                <a:gd name="T27" fmla="*/ 57337 h 305"/>
                <a:gd name="T28" fmla="*/ 55563 w 330"/>
                <a:gd name="T29" fmla="*/ 54948 h 305"/>
                <a:gd name="T30" fmla="*/ 55563 w 330"/>
                <a:gd name="T31" fmla="*/ 51763 h 305"/>
                <a:gd name="T32" fmla="*/ 55563 w 330"/>
                <a:gd name="T33" fmla="*/ 45392 h 305"/>
                <a:gd name="T34" fmla="*/ 61913 w 330"/>
                <a:gd name="T35" fmla="*/ 51763 h 305"/>
                <a:gd name="T36" fmla="*/ 65881 w 330"/>
                <a:gd name="T37" fmla="*/ 47781 h 305"/>
                <a:gd name="T38" fmla="*/ 47625 w 330"/>
                <a:gd name="T39" fmla="*/ 38225 h 305"/>
                <a:gd name="T40" fmla="*/ 52388 w 330"/>
                <a:gd name="T41" fmla="*/ 35836 h 305"/>
                <a:gd name="T42" fmla="*/ 47625 w 330"/>
                <a:gd name="T43" fmla="*/ 35836 h 305"/>
                <a:gd name="T44" fmla="*/ 41275 w 330"/>
                <a:gd name="T45" fmla="*/ 32651 h 305"/>
                <a:gd name="T46" fmla="*/ 38100 w 330"/>
                <a:gd name="T47" fmla="*/ 26280 h 305"/>
                <a:gd name="T48" fmla="*/ 30956 w 330"/>
                <a:gd name="T49" fmla="*/ 19112 h 305"/>
                <a:gd name="T50" fmla="*/ 30956 w 330"/>
                <a:gd name="T51" fmla="*/ 9556 h 305"/>
                <a:gd name="T52" fmla="*/ 34131 w 330"/>
                <a:gd name="T53" fmla="*/ 9556 h 305"/>
                <a:gd name="T54" fmla="*/ 38100 w 330"/>
                <a:gd name="T55" fmla="*/ 9556 h 305"/>
                <a:gd name="T56" fmla="*/ 38100 w 330"/>
                <a:gd name="T57" fmla="*/ 7167 h 305"/>
                <a:gd name="T58" fmla="*/ 38100 w 330"/>
                <a:gd name="T59" fmla="*/ 3982 h 305"/>
                <a:gd name="T60" fmla="*/ 30956 w 330"/>
                <a:gd name="T61" fmla="*/ 0 h 305"/>
                <a:gd name="T62" fmla="*/ 19844 w 330"/>
                <a:gd name="T63" fmla="*/ 0 h 305"/>
                <a:gd name="T64" fmla="*/ 16669 w 330"/>
                <a:gd name="T65" fmla="*/ 7167 h 305"/>
                <a:gd name="T66" fmla="*/ 14288 w 330"/>
                <a:gd name="T67" fmla="*/ 3982 h 305"/>
                <a:gd name="T68" fmla="*/ 14288 w 330"/>
                <a:gd name="T69" fmla="*/ 7167 h 305"/>
                <a:gd name="T70" fmla="*/ 9525 w 330"/>
                <a:gd name="T71" fmla="*/ 7167 h 305"/>
                <a:gd name="T72" fmla="*/ 3969 w 330"/>
                <a:gd name="T73" fmla="*/ 9556 h 305"/>
                <a:gd name="T74" fmla="*/ 0 w 330"/>
                <a:gd name="T75" fmla="*/ 9556 h 305"/>
                <a:gd name="T76" fmla="*/ 0 w 330"/>
                <a:gd name="T77" fmla="*/ 16723 h 305"/>
                <a:gd name="T78" fmla="*/ 3969 w 330"/>
                <a:gd name="T79" fmla="*/ 23094 h 30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0"/>
                <a:gd name="T121" fmla="*/ 0 h 305"/>
                <a:gd name="T122" fmla="*/ 330 w 330"/>
                <a:gd name="T123" fmla="*/ 305 h 30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0" h="305">
                  <a:moveTo>
                    <a:pt x="17" y="113"/>
                  </a:moveTo>
                  <a:lnTo>
                    <a:pt x="17" y="113"/>
                  </a:lnTo>
                  <a:lnTo>
                    <a:pt x="51" y="96"/>
                  </a:lnTo>
                  <a:lnTo>
                    <a:pt x="86" y="113"/>
                  </a:lnTo>
                  <a:lnTo>
                    <a:pt x="120" y="161"/>
                  </a:lnTo>
                  <a:lnTo>
                    <a:pt x="138" y="161"/>
                  </a:lnTo>
                  <a:lnTo>
                    <a:pt x="155" y="192"/>
                  </a:lnTo>
                  <a:lnTo>
                    <a:pt x="192" y="209"/>
                  </a:lnTo>
                  <a:lnTo>
                    <a:pt x="226" y="240"/>
                  </a:lnTo>
                  <a:lnTo>
                    <a:pt x="243" y="240"/>
                  </a:lnTo>
                  <a:lnTo>
                    <a:pt x="261" y="288"/>
                  </a:lnTo>
                  <a:lnTo>
                    <a:pt x="243" y="305"/>
                  </a:lnTo>
                  <a:lnTo>
                    <a:pt x="261" y="305"/>
                  </a:lnTo>
                  <a:lnTo>
                    <a:pt x="278" y="288"/>
                  </a:lnTo>
                  <a:lnTo>
                    <a:pt x="278" y="273"/>
                  </a:lnTo>
                  <a:lnTo>
                    <a:pt x="278" y="257"/>
                  </a:lnTo>
                  <a:lnTo>
                    <a:pt x="278" y="225"/>
                  </a:lnTo>
                  <a:lnTo>
                    <a:pt x="312" y="257"/>
                  </a:lnTo>
                  <a:lnTo>
                    <a:pt x="330" y="240"/>
                  </a:lnTo>
                  <a:lnTo>
                    <a:pt x="243" y="192"/>
                  </a:lnTo>
                  <a:lnTo>
                    <a:pt x="261" y="177"/>
                  </a:lnTo>
                  <a:lnTo>
                    <a:pt x="243" y="177"/>
                  </a:lnTo>
                  <a:lnTo>
                    <a:pt x="209" y="161"/>
                  </a:lnTo>
                  <a:lnTo>
                    <a:pt x="192" y="129"/>
                  </a:lnTo>
                  <a:lnTo>
                    <a:pt x="155" y="96"/>
                  </a:lnTo>
                  <a:lnTo>
                    <a:pt x="155" y="48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192" y="33"/>
                  </a:lnTo>
                  <a:lnTo>
                    <a:pt x="192" y="17"/>
                  </a:lnTo>
                  <a:lnTo>
                    <a:pt x="155" y="0"/>
                  </a:lnTo>
                  <a:lnTo>
                    <a:pt x="103" y="0"/>
                  </a:lnTo>
                  <a:lnTo>
                    <a:pt x="86" y="33"/>
                  </a:lnTo>
                  <a:lnTo>
                    <a:pt x="69" y="17"/>
                  </a:lnTo>
                  <a:lnTo>
                    <a:pt x="69" y="33"/>
                  </a:lnTo>
                  <a:lnTo>
                    <a:pt x="51" y="33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7" y="11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7" name="Freeform 259">
              <a:extLst>
                <a:ext uri="{FF2B5EF4-FFF2-40B4-BE49-F238E27FC236}">
                  <a16:creationId xmlns:a16="http://schemas.microsoft.com/office/drawing/2014/main" id="{01AF3207-B8CA-42A8-8887-0972C95C5A5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830763" y="3487738"/>
              <a:ext cx="14288" cy="12700"/>
            </a:xfrm>
            <a:custGeom>
              <a:avLst/>
              <a:gdLst>
                <a:gd name="T0" fmla="*/ 0 w 17"/>
                <a:gd name="T1" fmla="*/ 3387 h 15"/>
                <a:gd name="T2" fmla="*/ 0 w 17"/>
                <a:gd name="T3" fmla="*/ 3387 h 15"/>
                <a:gd name="T4" fmla="*/ 0 w 17"/>
                <a:gd name="T5" fmla="*/ 0 h 15"/>
                <a:gd name="T6" fmla="*/ 4202 w 17"/>
                <a:gd name="T7" fmla="*/ 0 h 15"/>
                <a:gd name="T8" fmla="*/ 4202 w 17"/>
                <a:gd name="T9" fmla="*/ 3387 h 15"/>
                <a:gd name="T10" fmla="*/ 0 w 17"/>
                <a:gd name="T11" fmla="*/ 338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8" name="Freeform 260">
              <a:extLst>
                <a:ext uri="{FF2B5EF4-FFF2-40B4-BE49-F238E27FC236}">
                  <a16:creationId xmlns:a16="http://schemas.microsoft.com/office/drawing/2014/main" id="{8D01620A-AF9D-4FB1-A76D-2D15CF6BB572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13324" y="3576638"/>
              <a:ext cx="53975" cy="38100"/>
            </a:xfrm>
            <a:custGeom>
              <a:avLst/>
              <a:gdLst>
                <a:gd name="T0" fmla="*/ 13108 w 70"/>
                <a:gd name="T1" fmla="*/ 3969 h 48"/>
                <a:gd name="T2" fmla="*/ 13108 w 70"/>
                <a:gd name="T3" fmla="*/ 3969 h 48"/>
                <a:gd name="T4" fmla="*/ 9253 w 70"/>
                <a:gd name="T5" fmla="*/ 3969 h 48"/>
                <a:gd name="T6" fmla="*/ 6169 w 70"/>
                <a:gd name="T7" fmla="*/ 9525 h 48"/>
                <a:gd name="T8" fmla="*/ 3084 w 70"/>
                <a:gd name="T9" fmla="*/ 9525 h 48"/>
                <a:gd name="T10" fmla="*/ 0 w 70"/>
                <a:gd name="T11" fmla="*/ 9525 h 48"/>
                <a:gd name="T12" fmla="*/ 0 w 70"/>
                <a:gd name="T13" fmla="*/ 7144 h 48"/>
                <a:gd name="T14" fmla="*/ 0 w 70"/>
                <a:gd name="T15" fmla="*/ 3969 h 48"/>
                <a:gd name="T16" fmla="*/ 13108 w 70"/>
                <a:gd name="T17" fmla="*/ 0 h 48"/>
                <a:gd name="T18" fmla="*/ 13108 w 70"/>
                <a:gd name="T19" fmla="*/ 3969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8"/>
                <a:gd name="T32" fmla="*/ 70 w 70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8">
                  <a:moveTo>
                    <a:pt x="70" y="17"/>
                  </a:moveTo>
                  <a:lnTo>
                    <a:pt x="70" y="17"/>
                  </a:lnTo>
                  <a:lnTo>
                    <a:pt x="52" y="17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70" y="0"/>
                  </a:lnTo>
                  <a:lnTo>
                    <a:pt x="70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599" name="Freeform 261">
              <a:extLst>
                <a:ext uri="{FF2B5EF4-FFF2-40B4-BE49-F238E27FC236}">
                  <a16:creationId xmlns:a16="http://schemas.microsoft.com/office/drawing/2014/main" id="{F670F4D9-E9B5-4A7F-8C61-7AB9DB425E4A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164137" y="2651126"/>
              <a:ext cx="233363" cy="482600"/>
            </a:xfrm>
            <a:custGeom>
              <a:avLst/>
              <a:gdLst>
                <a:gd name="T0" fmla="*/ 44450 w 294"/>
                <a:gd name="T1" fmla="*/ 15849 h 609"/>
                <a:gd name="T2" fmla="*/ 44450 w 294"/>
                <a:gd name="T3" fmla="*/ 15849 h 609"/>
                <a:gd name="T4" fmla="*/ 44450 w 294"/>
                <a:gd name="T5" fmla="*/ 25358 h 609"/>
                <a:gd name="T6" fmla="*/ 51594 w 294"/>
                <a:gd name="T7" fmla="*/ 31698 h 609"/>
                <a:gd name="T8" fmla="*/ 47625 w 294"/>
                <a:gd name="T9" fmla="*/ 41207 h 609"/>
                <a:gd name="T10" fmla="*/ 51594 w 294"/>
                <a:gd name="T11" fmla="*/ 57056 h 609"/>
                <a:gd name="T12" fmla="*/ 47625 w 294"/>
                <a:gd name="T13" fmla="*/ 66566 h 609"/>
                <a:gd name="T14" fmla="*/ 55563 w 294"/>
                <a:gd name="T15" fmla="*/ 76075 h 609"/>
                <a:gd name="T16" fmla="*/ 51594 w 294"/>
                <a:gd name="T17" fmla="*/ 82414 h 609"/>
                <a:gd name="T18" fmla="*/ 58738 w 294"/>
                <a:gd name="T19" fmla="*/ 87962 h 609"/>
                <a:gd name="T20" fmla="*/ 58738 w 294"/>
                <a:gd name="T21" fmla="*/ 91924 h 609"/>
                <a:gd name="T22" fmla="*/ 47625 w 294"/>
                <a:gd name="T23" fmla="*/ 106980 h 609"/>
                <a:gd name="T24" fmla="*/ 37306 w 294"/>
                <a:gd name="T25" fmla="*/ 114112 h 609"/>
                <a:gd name="T26" fmla="*/ 34131 w 294"/>
                <a:gd name="T27" fmla="*/ 114112 h 609"/>
                <a:gd name="T28" fmla="*/ 16669 w 294"/>
                <a:gd name="T29" fmla="*/ 120452 h 609"/>
                <a:gd name="T30" fmla="*/ 3969 w 294"/>
                <a:gd name="T31" fmla="*/ 114112 h 609"/>
                <a:gd name="T32" fmla="*/ 7144 w 294"/>
                <a:gd name="T33" fmla="*/ 104603 h 609"/>
                <a:gd name="T34" fmla="*/ 3969 w 294"/>
                <a:gd name="T35" fmla="*/ 95094 h 609"/>
                <a:gd name="T36" fmla="*/ 7144 w 294"/>
                <a:gd name="T37" fmla="*/ 87962 h 609"/>
                <a:gd name="T38" fmla="*/ 20638 w 294"/>
                <a:gd name="T39" fmla="*/ 69735 h 609"/>
                <a:gd name="T40" fmla="*/ 23813 w 294"/>
                <a:gd name="T41" fmla="*/ 66566 h 609"/>
                <a:gd name="T42" fmla="*/ 23813 w 294"/>
                <a:gd name="T43" fmla="*/ 60226 h 609"/>
                <a:gd name="T44" fmla="*/ 20638 w 294"/>
                <a:gd name="T45" fmla="*/ 57056 h 609"/>
                <a:gd name="T46" fmla="*/ 16669 w 294"/>
                <a:gd name="T47" fmla="*/ 57056 h 609"/>
                <a:gd name="T48" fmla="*/ 14288 w 294"/>
                <a:gd name="T49" fmla="*/ 28528 h 609"/>
                <a:gd name="T50" fmla="*/ 0 w 294"/>
                <a:gd name="T51" fmla="*/ 15849 h 609"/>
                <a:gd name="T52" fmla="*/ 3969 w 294"/>
                <a:gd name="T53" fmla="*/ 12679 h 609"/>
                <a:gd name="T54" fmla="*/ 10319 w 294"/>
                <a:gd name="T55" fmla="*/ 19019 h 609"/>
                <a:gd name="T56" fmla="*/ 14288 w 294"/>
                <a:gd name="T57" fmla="*/ 19019 h 609"/>
                <a:gd name="T58" fmla="*/ 16669 w 294"/>
                <a:gd name="T59" fmla="*/ 19019 h 609"/>
                <a:gd name="T60" fmla="*/ 23813 w 294"/>
                <a:gd name="T61" fmla="*/ 19019 h 609"/>
                <a:gd name="T62" fmla="*/ 27781 w 294"/>
                <a:gd name="T63" fmla="*/ 15849 h 609"/>
                <a:gd name="T64" fmla="*/ 30956 w 294"/>
                <a:gd name="T65" fmla="*/ 3170 h 609"/>
                <a:gd name="T66" fmla="*/ 37306 w 294"/>
                <a:gd name="T67" fmla="*/ 0 h 609"/>
                <a:gd name="T68" fmla="*/ 47625 w 294"/>
                <a:gd name="T69" fmla="*/ 6340 h 609"/>
                <a:gd name="T70" fmla="*/ 44450 w 294"/>
                <a:gd name="T71" fmla="*/ 15849 h 6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609"/>
                <a:gd name="T110" fmla="*/ 294 w 294"/>
                <a:gd name="T111" fmla="*/ 609 h 6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609">
                  <a:moveTo>
                    <a:pt x="225" y="81"/>
                  </a:moveTo>
                  <a:lnTo>
                    <a:pt x="225" y="81"/>
                  </a:lnTo>
                  <a:lnTo>
                    <a:pt x="225" y="129"/>
                  </a:lnTo>
                  <a:lnTo>
                    <a:pt x="260" y="160"/>
                  </a:lnTo>
                  <a:lnTo>
                    <a:pt x="242" y="208"/>
                  </a:lnTo>
                  <a:lnTo>
                    <a:pt x="260" y="288"/>
                  </a:lnTo>
                  <a:lnTo>
                    <a:pt x="242" y="336"/>
                  </a:lnTo>
                  <a:lnTo>
                    <a:pt x="277" y="384"/>
                  </a:lnTo>
                  <a:lnTo>
                    <a:pt x="260" y="417"/>
                  </a:lnTo>
                  <a:lnTo>
                    <a:pt x="294" y="447"/>
                  </a:lnTo>
                  <a:lnTo>
                    <a:pt x="294" y="465"/>
                  </a:lnTo>
                  <a:lnTo>
                    <a:pt x="242" y="543"/>
                  </a:lnTo>
                  <a:lnTo>
                    <a:pt x="191" y="576"/>
                  </a:lnTo>
                  <a:lnTo>
                    <a:pt x="173" y="576"/>
                  </a:lnTo>
                  <a:lnTo>
                    <a:pt x="87" y="609"/>
                  </a:lnTo>
                  <a:lnTo>
                    <a:pt x="18" y="576"/>
                  </a:lnTo>
                  <a:lnTo>
                    <a:pt x="35" y="528"/>
                  </a:lnTo>
                  <a:lnTo>
                    <a:pt x="18" y="480"/>
                  </a:lnTo>
                  <a:lnTo>
                    <a:pt x="35" y="447"/>
                  </a:lnTo>
                  <a:lnTo>
                    <a:pt x="104" y="352"/>
                  </a:lnTo>
                  <a:lnTo>
                    <a:pt x="121" y="336"/>
                  </a:lnTo>
                  <a:lnTo>
                    <a:pt x="121" y="304"/>
                  </a:lnTo>
                  <a:lnTo>
                    <a:pt x="104" y="288"/>
                  </a:lnTo>
                  <a:lnTo>
                    <a:pt x="87" y="288"/>
                  </a:lnTo>
                  <a:lnTo>
                    <a:pt x="70" y="144"/>
                  </a:lnTo>
                  <a:lnTo>
                    <a:pt x="0" y="81"/>
                  </a:lnTo>
                  <a:lnTo>
                    <a:pt x="18" y="64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87" y="96"/>
                  </a:lnTo>
                  <a:lnTo>
                    <a:pt x="121" y="96"/>
                  </a:lnTo>
                  <a:lnTo>
                    <a:pt x="139" y="81"/>
                  </a:lnTo>
                  <a:lnTo>
                    <a:pt x="156" y="16"/>
                  </a:lnTo>
                  <a:lnTo>
                    <a:pt x="191" y="0"/>
                  </a:lnTo>
                  <a:lnTo>
                    <a:pt x="242" y="33"/>
                  </a:lnTo>
                  <a:lnTo>
                    <a:pt x="225" y="8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0" name="Freeform 262">
              <a:extLst>
                <a:ext uri="{FF2B5EF4-FFF2-40B4-BE49-F238E27FC236}">
                  <a16:creationId xmlns:a16="http://schemas.microsoft.com/office/drawing/2014/main" id="{4963A998-D4FC-4951-9BF0-E2483A1BFCC8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18063" y="2586038"/>
              <a:ext cx="579438" cy="623888"/>
            </a:xfrm>
            <a:custGeom>
              <a:avLst/>
              <a:gdLst>
                <a:gd name="T0" fmla="*/ 34178 w 729"/>
                <a:gd name="T1" fmla="*/ 149415 h 785"/>
                <a:gd name="T2" fmla="*/ 30999 w 729"/>
                <a:gd name="T3" fmla="*/ 143057 h 785"/>
                <a:gd name="T4" fmla="*/ 27819 w 729"/>
                <a:gd name="T5" fmla="*/ 147031 h 785"/>
                <a:gd name="T6" fmla="*/ 10333 w 729"/>
                <a:gd name="T7" fmla="*/ 156568 h 785"/>
                <a:gd name="T8" fmla="*/ 7154 w 729"/>
                <a:gd name="T9" fmla="*/ 143057 h 785"/>
                <a:gd name="T10" fmla="*/ 3974 w 729"/>
                <a:gd name="T11" fmla="*/ 143057 h 785"/>
                <a:gd name="T12" fmla="*/ 3974 w 729"/>
                <a:gd name="T13" fmla="*/ 133520 h 785"/>
                <a:gd name="T14" fmla="*/ 3974 w 729"/>
                <a:gd name="T15" fmla="*/ 120804 h 785"/>
                <a:gd name="T16" fmla="*/ 14307 w 729"/>
                <a:gd name="T17" fmla="*/ 108882 h 785"/>
                <a:gd name="T18" fmla="*/ 24640 w 729"/>
                <a:gd name="T19" fmla="*/ 99345 h 785"/>
                <a:gd name="T20" fmla="*/ 34178 w 729"/>
                <a:gd name="T21" fmla="*/ 85834 h 785"/>
                <a:gd name="T22" fmla="*/ 48485 w 729"/>
                <a:gd name="T23" fmla="*/ 63581 h 785"/>
                <a:gd name="T24" fmla="*/ 61997 w 729"/>
                <a:gd name="T25" fmla="*/ 42122 h 785"/>
                <a:gd name="T26" fmla="*/ 44511 w 729"/>
                <a:gd name="T27" fmla="*/ 47686 h 785"/>
                <a:gd name="T28" fmla="*/ 54844 w 729"/>
                <a:gd name="T29" fmla="*/ 42122 h 785"/>
                <a:gd name="T30" fmla="*/ 61997 w 729"/>
                <a:gd name="T31" fmla="*/ 28611 h 785"/>
                <a:gd name="T32" fmla="*/ 65177 w 729"/>
                <a:gd name="T33" fmla="*/ 32585 h 785"/>
                <a:gd name="T34" fmla="*/ 69151 w 729"/>
                <a:gd name="T35" fmla="*/ 32585 h 785"/>
                <a:gd name="T36" fmla="*/ 65177 w 729"/>
                <a:gd name="T37" fmla="*/ 25432 h 785"/>
                <a:gd name="T38" fmla="*/ 76305 w 729"/>
                <a:gd name="T39" fmla="*/ 15895 h 785"/>
                <a:gd name="T40" fmla="*/ 89817 w 729"/>
                <a:gd name="T41" fmla="*/ 13511 h 785"/>
                <a:gd name="T42" fmla="*/ 107303 w 729"/>
                <a:gd name="T43" fmla="*/ 6358 h 785"/>
                <a:gd name="T44" fmla="*/ 113662 w 729"/>
                <a:gd name="T45" fmla="*/ 0 h 785"/>
                <a:gd name="T46" fmla="*/ 117636 w 729"/>
                <a:gd name="T47" fmla="*/ 3974 h 785"/>
                <a:gd name="T48" fmla="*/ 123995 w 729"/>
                <a:gd name="T49" fmla="*/ 0 h 785"/>
                <a:gd name="T50" fmla="*/ 145456 w 729"/>
                <a:gd name="T51" fmla="*/ 13511 h 785"/>
                <a:gd name="T52" fmla="*/ 131149 w 729"/>
                <a:gd name="T53" fmla="*/ 15895 h 785"/>
                <a:gd name="T54" fmla="*/ 141481 w 729"/>
                <a:gd name="T55" fmla="*/ 23048 h 785"/>
                <a:gd name="T56" fmla="*/ 138302 w 729"/>
                <a:gd name="T57" fmla="*/ 25432 h 785"/>
                <a:gd name="T58" fmla="*/ 135123 w 729"/>
                <a:gd name="T59" fmla="*/ 23048 h 785"/>
                <a:gd name="T60" fmla="*/ 117636 w 729"/>
                <a:gd name="T61" fmla="*/ 19074 h 785"/>
                <a:gd name="T62" fmla="*/ 110483 w 729"/>
                <a:gd name="T63" fmla="*/ 34970 h 785"/>
                <a:gd name="T64" fmla="*/ 100150 w 729"/>
                <a:gd name="T65" fmla="*/ 34970 h 785"/>
                <a:gd name="T66" fmla="*/ 89817 w 729"/>
                <a:gd name="T67" fmla="*/ 28611 h 785"/>
                <a:gd name="T68" fmla="*/ 82663 w 729"/>
                <a:gd name="T69" fmla="*/ 32585 h 785"/>
                <a:gd name="T70" fmla="*/ 76305 w 729"/>
                <a:gd name="T71" fmla="*/ 38149 h 785"/>
                <a:gd name="T72" fmla="*/ 72330 w 729"/>
                <a:gd name="T73" fmla="*/ 44507 h 785"/>
                <a:gd name="T74" fmla="*/ 65177 w 729"/>
                <a:gd name="T75" fmla="*/ 47686 h 785"/>
                <a:gd name="T76" fmla="*/ 61997 w 729"/>
                <a:gd name="T77" fmla="*/ 57223 h 785"/>
                <a:gd name="T78" fmla="*/ 54844 w 729"/>
                <a:gd name="T79" fmla="*/ 70734 h 785"/>
                <a:gd name="T80" fmla="*/ 48485 w 729"/>
                <a:gd name="T81" fmla="*/ 85834 h 785"/>
                <a:gd name="T82" fmla="*/ 44511 w 729"/>
                <a:gd name="T83" fmla="*/ 95371 h 785"/>
                <a:gd name="T84" fmla="*/ 38152 w 729"/>
                <a:gd name="T85" fmla="*/ 111267 h 785"/>
                <a:gd name="T86" fmla="*/ 41332 w 729"/>
                <a:gd name="T87" fmla="*/ 127957 h 785"/>
                <a:gd name="T88" fmla="*/ 38152 w 729"/>
                <a:gd name="T89" fmla="*/ 139878 h 785"/>
                <a:gd name="T90" fmla="*/ 34178 w 729"/>
                <a:gd name="T91" fmla="*/ 149415 h 7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29"/>
                <a:gd name="T139" fmla="*/ 0 h 785"/>
                <a:gd name="T140" fmla="*/ 729 w 729"/>
                <a:gd name="T141" fmla="*/ 785 h 78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29" h="785">
                  <a:moveTo>
                    <a:pt x="172" y="752"/>
                  </a:moveTo>
                  <a:lnTo>
                    <a:pt x="172" y="752"/>
                  </a:lnTo>
                  <a:lnTo>
                    <a:pt x="172" y="737"/>
                  </a:lnTo>
                  <a:lnTo>
                    <a:pt x="155" y="719"/>
                  </a:lnTo>
                  <a:lnTo>
                    <a:pt x="155" y="737"/>
                  </a:lnTo>
                  <a:lnTo>
                    <a:pt x="138" y="737"/>
                  </a:lnTo>
                  <a:lnTo>
                    <a:pt x="86" y="785"/>
                  </a:lnTo>
                  <a:lnTo>
                    <a:pt x="52" y="785"/>
                  </a:lnTo>
                  <a:lnTo>
                    <a:pt x="17" y="767"/>
                  </a:lnTo>
                  <a:lnTo>
                    <a:pt x="34" y="719"/>
                  </a:lnTo>
                  <a:lnTo>
                    <a:pt x="17" y="737"/>
                  </a:lnTo>
                  <a:lnTo>
                    <a:pt x="17" y="719"/>
                  </a:lnTo>
                  <a:lnTo>
                    <a:pt x="17" y="704"/>
                  </a:lnTo>
                  <a:lnTo>
                    <a:pt x="17" y="671"/>
                  </a:lnTo>
                  <a:lnTo>
                    <a:pt x="0" y="641"/>
                  </a:lnTo>
                  <a:lnTo>
                    <a:pt x="17" y="608"/>
                  </a:lnTo>
                  <a:lnTo>
                    <a:pt x="0" y="593"/>
                  </a:lnTo>
                  <a:lnTo>
                    <a:pt x="69" y="545"/>
                  </a:lnTo>
                  <a:lnTo>
                    <a:pt x="86" y="527"/>
                  </a:lnTo>
                  <a:lnTo>
                    <a:pt x="121" y="497"/>
                  </a:lnTo>
                  <a:lnTo>
                    <a:pt x="121" y="512"/>
                  </a:lnTo>
                  <a:lnTo>
                    <a:pt x="172" y="432"/>
                  </a:lnTo>
                  <a:lnTo>
                    <a:pt x="207" y="401"/>
                  </a:lnTo>
                  <a:lnTo>
                    <a:pt x="242" y="320"/>
                  </a:lnTo>
                  <a:lnTo>
                    <a:pt x="276" y="240"/>
                  </a:lnTo>
                  <a:lnTo>
                    <a:pt x="311" y="209"/>
                  </a:lnTo>
                  <a:lnTo>
                    <a:pt x="259" y="224"/>
                  </a:lnTo>
                  <a:lnTo>
                    <a:pt x="224" y="240"/>
                  </a:lnTo>
                  <a:lnTo>
                    <a:pt x="242" y="209"/>
                  </a:lnTo>
                  <a:lnTo>
                    <a:pt x="276" y="209"/>
                  </a:lnTo>
                  <a:lnTo>
                    <a:pt x="259" y="176"/>
                  </a:lnTo>
                  <a:lnTo>
                    <a:pt x="311" y="144"/>
                  </a:lnTo>
                  <a:lnTo>
                    <a:pt x="311" y="176"/>
                  </a:lnTo>
                  <a:lnTo>
                    <a:pt x="328" y="161"/>
                  </a:lnTo>
                  <a:lnTo>
                    <a:pt x="328" y="176"/>
                  </a:lnTo>
                  <a:lnTo>
                    <a:pt x="347" y="161"/>
                  </a:lnTo>
                  <a:lnTo>
                    <a:pt x="328" y="161"/>
                  </a:lnTo>
                  <a:lnTo>
                    <a:pt x="328" y="128"/>
                  </a:lnTo>
                  <a:lnTo>
                    <a:pt x="364" y="113"/>
                  </a:lnTo>
                  <a:lnTo>
                    <a:pt x="382" y="80"/>
                  </a:lnTo>
                  <a:lnTo>
                    <a:pt x="416" y="80"/>
                  </a:lnTo>
                  <a:lnTo>
                    <a:pt x="451" y="65"/>
                  </a:lnTo>
                  <a:lnTo>
                    <a:pt x="503" y="17"/>
                  </a:lnTo>
                  <a:lnTo>
                    <a:pt x="537" y="32"/>
                  </a:lnTo>
                  <a:lnTo>
                    <a:pt x="555" y="17"/>
                  </a:lnTo>
                  <a:lnTo>
                    <a:pt x="572" y="0"/>
                  </a:lnTo>
                  <a:lnTo>
                    <a:pt x="572" y="48"/>
                  </a:lnTo>
                  <a:lnTo>
                    <a:pt x="589" y="17"/>
                  </a:lnTo>
                  <a:lnTo>
                    <a:pt x="606" y="48"/>
                  </a:lnTo>
                  <a:lnTo>
                    <a:pt x="624" y="0"/>
                  </a:lnTo>
                  <a:lnTo>
                    <a:pt x="658" y="17"/>
                  </a:lnTo>
                  <a:lnTo>
                    <a:pt x="729" y="65"/>
                  </a:lnTo>
                  <a:lnTo>
                    <a:pt x="695" y="80"/>
                  </a:lnTo>
                  <a:lnTo>
                    <a:pt x="658" y="80"/>
                  </a:lnTo>
                  <a:lnTo>
                    <a:pt x="695" y="96"/>
                  </a:lnTo>
                  <a:lnTo>
                    <a:pt x="712" y="113"/>
                  </a:lnTo>
                  <a:lnTo>
                    <a:pt x="712" y="128"/>
                  </a:lnTo>
                  <a:lnTo>
                    <a:pt x="695" y="128"/>
                  </a:lnTo>
                  <a:lnTo>
                    <a:pt x="658" y="161"/>
                  </a:lnTo>
                  <a:lnTo>
                    <a:pt x="677" y="113"/>
                  </a:lnTo>
                  <a:lnTo>
                    <a:pt x="624" y="80"/>
                  </a:lnTo>
                  <a:lnTo>
                    <a:pt x="589" y="96"/>
                  </a:lnTo>
                  <a:lnTo>
                    <a:pt x="572" y="161"/>
                  </a:lnTo>
                  <a:lnTo>
                    <a:pt x="555" y="176"/>
                  </a:lnTo>
                  <a:lnTo>
                    <a:pt x="520" y="176"/>
                  </a:lnTo>
                  <a:lnTo>
                    <a:pt x="503" y="176"/>
                  </a:lnTo>
                  <a:lnTo>
                    <a:pt x="485" y="176"/>
                  </a:lnTo>
                  <a:lnTo>
                    <a:pt x="451" y="144"/>
                  </a:lnTo>
                  <a:lnTo>
                    <a:pt x="434" y="161"/>
                  </a:lnTo>
                  <a:lnTo>
                    <a:pt x="416" y="161"/>
                  </a:lnTo>
                  <a:lnTo>
                    <a:pt x="416" y="192"/>
                  </a:lnTo>
                  <a:lnTo>
                    <a:pt x="382" y="192"/>
                  </a:lnTo>
                  <a:lnTo>
                    <a:pt x="364" y="192"/>
                  </a:lnTo>
                  <a:lnTo>
                    <a:pt x="364" y="224"/>
                  </a:lnTo>
                  <a:lnTo>
                    <a:pt x="347" y="224"/>
                  </a:lnTo>
                  <a:lnTo>
                    <a:pt x="328" y="240"/>
                  </a:lnTo>
                  <a:lnTo>
                    <a:pt x="311" y="272"/>
                  </a:lnTo>
                  <a:lnTo>
                    <a:pt x="311" y="288"/>
                  </a:lnTo>
                  <a:lnTo>
                    <a:pt x="311" y="305"/>
                  </a:lnTo>
                  <a:lnTo>
                    <a:pt x="276" y="353"/>
                  </a:lnTo>
                  <a:lnTo>
                    <a:pt x="259" y="401"/>
                  </a:lnTo>
                  <a:lnTo>
                    <a:pt x="242" y="432"/>
                  </a:lnTo>
                  <a:lnTo>
                    <a:pt x="259" y="464"/>
                  </a:lnTo>
                  <a:lnTo>
                    <a:pt x="224" y="479"/>
                  </a:lnTo>
                  <a:lnTo>
                    <a:pt x="207" y="497"/>
                  </a:lnTo>
                  <a:lnTo>
                    <a:pt x="190" y="560"/>
                  </a:lnTo>
                  <a:lnTo>
                    <a:pt x="207" y="623"/>
                  </a:lnTo>
                  <a:lnTo>
                    <a:pt x="207" y="641"/>
                  </a:lnTo>
                  <a:lnTo>
                    <a:pt x="207" y="689"/>
                  </a:lnTo>
                  <a:lnTo>
                    <a:pt x="190" y="704"/>
                  </a:lnTo>
                  <a:lnTo>
                    <a:pt x="190" y="752"/>
                  </a:lnTo>
                  <a:lnTo>
                    <a:pt x="172" y="75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1" name="Freeform 263">
              <a:extLst>
                <a:ext uri="{FF2B5EF4-FFF2-40B4-BE49-F238E27FC236}">
                  <a16:creationId xmlns:a16="http://schemas.microsoft.com/office/drawing/2014/main" id="{B0E333B1-C3AB-4A02-A1E8-A046F0AF0840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956174" y="2714626"/>
              <a:ext cx="274638" cy="595313"/>
            </a:xfrm>
            <a:custGeom>
              <a:avLst/>
              <a:gdLst>
                <a:gd name="T0" fmla="*/ 0 w 346"/>
                <a:gd name="T1" fmla="*/ 117475 h 750"/>
                <a:gd name="T2" fmla="*/ 0 w 346"/>
                <a:gd name="T3" fmla="*/ 117475 h 750"/>
                <a:gd name="T4" fmla="*/ 3969 w 346"/>
                <a:gd name="T5" fmla="*/ 117475 h 750"/>
                <a:gd name="T6" fmla="*/ 3969 w 346"/>
                <a:gd name="T7" fmla="*/ 107950 h 750"/>
                <a:gd name="T8" fmla="*/ 7144 w 346"/>
                <a:gd name="T9" fmla="*/ 104775 h 750"/>
                <a:gd name="T10" fmla="*/ 7144 w 346"/>
                <a:gd name="T11" fmla="*/ 95250 h 750"/>
                <a:gd name="T12" fmla="*/ 7144 w 346"/>
                <a:gd name="T13" fmla="*/ 91281 h 750"/>
                <a:gd name="T14" fmla="*/ 3969 w 346"/>
                <a:gd name="T15" fmla="*/ 78581 h 750"/>
                <a:gd name="T16" fmla="*/ 7144 w 346"/>
                <a:gd name="T17" fmla="*/ 66675 h 750"/>
                <a:gd name="T18" fmla="*/ 10319 w 346"/>
                <a:gd name="T19" fmla="*/ 63500 h 750"/>
                <a:gd name="T20" fmla="*/ 17463 w 346"/>
                <a:gd name="T21" fmla="*/ 60325 h 750"/>
                <a:gd name="T22" fmla="*/ 14288 w 346"/>
                <a:gd name="T23" fmla="*/ 53975 h 750"/>
                <a:gd name="T24" fmla="*/ 17463 w 346"/>
                <a:gd name="T25" fmla="*/ 47625 h 750"/>
                <a:gd name="T26" fmla="*/ 20638 w 346"/>
                <a:gd name="T27" fmla="*/ 38100 h 750"/>
                <a:gd name="T28" fmla="*/ 27781 w 346"/>
                <a:gd name="T29" fmla="*/ 28575 h 750"/>
                <a:gd name="T30" fmla="*/ 27781 w 346"/>
                <a:gd name="T31" fmla="*/ 24606 h 750"/>
                <a:gd name="T32" fmla="*/ 27781 w 346"/>
                <a:gd name="T33" fmla="*/ 21431 h 750"/>
                <a:gd name="T34" fmla="*/ 30956 w 346"/>
                <a:gd name="T35" fmla="*/ 15875 h 750"/>
                <a:gd name="T36" fmla="*/ 34131 w 346"/>
                <a:gd name="T37" fmla="*/ 11906 h 750"/>
                <a:gd name="T38" fmla="*/ 37306 w 346"/>
                <a:gd name="T39" fmla="*/ 11906 h 750"/>
                <a:gd name="T40" fmla="*/ 37306 w 346"/>
                <a:gd name="T41" fmla="*/ 5556 h 750"/>
                <a:gd name="T42" fmla="*/ 41275 w 346"/>
                <a:gd name="T43" fmla="*/ 5556 h 750"/>
                <a:gd name="T44" fmla="*/ 47625 w 346"/>
                <a:gd name="T45" fmla="*/ 5556 h 750"/>
                <a:gd name="T46" fmla="*/ 47625 w 346"/>
                <a:gd name="T47" fmla="*/ 0 h 750"/>
                <a:gd name="T48" fmla="*/ 51594 w 346"/>
                <a:gd name="T49" fmla="*/ 0 h 750"/>
                <a:gd name="T50" fmla="*/ 65881 w 346"/>
                <a:gd name="T51" fmla="*/ 11906 h 750"/>
                <a:gd name="T52" fmla="*/ 69056 w 346"/>
                <a:gd name="T53" fmla="*/ 40481 h 750"/>
                <a:gd name="T54" fmla="*/ 61913 w 346"/>
                <a:gd name="T55" fmla="*/ 40481 h 750"/>
                <a:gd name="T56" fmla="*/ 55563 w 346"/>
                <a:gd name="T57" fmla="*/ 47625 h 750"/>
                <a:gd name="T58" fmla="*/ 55563 w 346"/>
                <a:gd name="T59" fmla="*/ 50006 h 750"/>
                <a:gd name="T60" fmla="*/ 55563 w 346"/>
                <a:gd name="T61" fmla="*/ 53975 h 750"/>
                <a:gd name="T62" fmla="*/ 58738 w 346"/>
                <a:gd name="T63" fmla="*/ 57150 h 750"/>
                <a:gd name="T64" fmla="*/ 51594 w 346"/>
                <a:gd name="T65" fmla="*/ 63500 h 750"/>
                <a:gd name="T66" fmla="*/ 41275 w 346"/>
                <a:gd name="T67" fmla="*/ 73025 h 750"/>
                <a:gd name="T68" fmla="*/ 34131 w 346"/>
                <a:gd name="T69" fmla="*/ 81756 h 750"/>
                <a:gd name="T70" fmla="*/ 34131 w 346"/>
                <a:gd name="T71" fmla="*/ 97631 h 750"/>
                <a:gd name="T72" fmla="*/ 41275 w 346"/>
                <a:gd name="T73" fmla="*/ 107950 h 750"/>
                <a:gd name="T74" fmla="*/ 37306 w 346"/>
                <a:gd name="T75" fmla="*/ 111125 h 750"/>
                <a:gd name="T76" fmla="*/ 37306 w 346"/>
                <a:gd name="T77" fmla="*/ 114300 h 750"/>
                <a:gd name="T78" fmla="*/ 30956 w 346"/>
                <a:gd name="T79" fmla="*/ 120650 h 750"/>
                <a:gd name="T80" fmla="*/ 27781 w 346"/>
                <a:gd name="T81" fmla="*/ 142875 h 750"/>
                <a:gd name="T82" fmla="*/ 20638 w 346"/>
                <a:gd name="T83" fmla="*/ 142875 h 750"/>
                <a:gd name="T84" fmla="*/ 17463 w 346"/>
                <a:gd name="T85" fmla="*/ 146050 h 750"/>
                <a:gd name="T86" fmla="*/ 17463 w 346"/>
                <a:gd name="T87" fmla="*/ 149225 h 750"/>
                <a:gd name="T88" fmla="*/ 10319 w 346"/>
                <a:gd name="T89" fmla="*/ 149225 h 750"/>
                <a:gd name="T90" fmla="*/ 7144 w 346"/>
                <a:gd name="T91" fmla="*/ 142875 h 750"/>
                <a:gd name="T92" fmla="*/ 10319 w 346"/>
                <a:gd name="T93" fmla="*/ 139700 h 750"/>
                <a:gd name="T94" fmla="*/ 7144 w 346"/>
                <a:gd name="T95" fmla="*/ 136525 h 750"/>
                <a:gd name="T96" fmla="*/ 0 w 346"/>
                <a:gd name="T97" fmla="*/ 117475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2" name="Freeform 264">
              <a:extLst>
                <a:ext uri="{FF2B5EF4-FFF2-40B4-BE49-F238E27FC236}">
                  <a16:creationId xmlns:a16="http://schemas.microsoft.com/office/drawing/2014/main" id="{4DBBA487-4E1F-41F8-9BD4-C9313C80BAE3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972049" y="4986338"/>
              <a:ext cx="287338" cy="254000"/>
            </a:xfrm>
            <a:custGeom>
              <a:avLst/>
              <a:gdLst>
                <a:gd name="T0" fmla="*/ 23813 w 362"/>
                <a:gd name="T1" fmla="*/ 63500 h 320"/>
                <a:gd name="T2" fmla="*/ 23813 w 362"/>
                <a:gd name="T3" fmla="*/ 63500 h 320"/>
                <a:gd name="T4" fmla="*/ 19844 w 362"/>
                <a:gd name="T5" fmla="*/ 57150 h 320"/>
                <a:gd name="T6" fmla="*/ 14288 w 362"/>
                <a:gd name="T7" fmla="*/ 38100 h 320"/>
                <a:gd name="T8" fmla="*/ 14288 w 362"/>
                <a:gd name="T9" fmla="*/ 28575 h 320"/>
                <a:gd name="T10" fmla="*/ 0 w 362"/>
                <a:gd name="T11" fmla="*/ 3969 h 320"/>
                <a:gd name="T12" fmla="*/ 0 w 362"/>
                <a:gd name="T13" fmla="*/ 0 h 320"/>
                <a:gd name="T14" fmla="*/ 7144 w 362"/>
                <a:gd name="T15" fmla="*/ 0 h 320"/>
                <a:gd name="T16" fmla="*/ 14288 w 362"/>
                <a:gd name="T17" fmla="*/ 0 h 320"/>
                <a:gd name="T18" fmla="*/ 34131 w 362"/>
                <a:gd name="T19" fmla="*/ 3969 h 320"/>
                <a:gd name="T20" fmla="*/ 40481 w 362"/>
                <a:gd name="T21" fmla="*/ 3969 h 320"/>
                <a:gd name="T22" fmla="*/ 54769 w 362"/>
                <a:gd name="T23" fmla="*/ 7144 h 320"/>
                <a:gd name="T24" fmla="*/ 61913 w 362"/>
                <a:gd name="T25" fmla="*/ 3969 h 320"/>
                <a:gd name="T26" fmla="*/ 65088 w 362"/>
                <a:gd name="T27" fmla="*/ 0 h 320"/>
                <a:gd name="T28" fmla="*/ 72231 w 362"/>
                <a:gd name="T29" fmla="*/ 3969 h 320"/>
                <a:gd name="T30" fmla="*/ 65088 w 362"/>
                <a:gd name="T31" fmla="*/ 9525 h 320"/>
                <a:gd name="T32" fmla="*/ 61913 w 362"/>
                <a:gd name="T33" fmla="*/ 7144 h 320"/>
                <a:gd name="T34" fmla="*/ 51594 w 362"/>
                <a:gd name="T35" fmla="*/ 7144 h 320"/>
                <a:gd name="T36" fmla="*/ 47625 w 362"/>
                <a:gd name="T37" fmla="*/ 26194 h 320"/>
                <a:gd name="T38" fmla="*/ 44450 w 362"/>
                <a:gd name="T39" fmla="*/ 28575 h 320"/>
                <a:gd name="T40" fmla="*/ 44450 w 362"/>
                <a:gd name="T41" fmla="*/ 41275 h 320"/>
                <a:gd name="T42" fmla="*/ 44450 w 362"/>
                <a:gd name="T43" fmla="*/ 61119 h 320"/>
                <a:gd name="T44" fmla="*/ 37306 w 362"/>
                <a:gd name="T45" fmla="*/ 63500 h 320"/>
                <a:gd name="T46" fmla="*/ 30956 w 362"/>
                <a:gd name="T47" fmla="*/ 63500 h 320"/>
                <a:gd name="T48" fmla="*/ 27781 w 362"/>
                <a:gd name="T49" fmla="*/ 61119 h 320"/>
                <a:gd name="T50" fmla="*/ 23813 w 362"/>
                <a:gd name="T51" fmla="*/ 63500 h 3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62"/>
                <a:gd name="T79" fmla="*/ 0 h 320"/>
                <a:gd name="T80" fmla="*/ 362 w 362"/>
                <a:gd name="T81" fmla="*/ 320 h 3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62" h="320">
                  <a:moveTo>
                    <a:pt x="121" y="320"/>
                  </a:moveTo>
                  <a:lnTo>
                    <a:pt x="121" y="320"/>
                  </a:lnTo>
                  <a:lnTo>
                    <a:pt x="103" y="288"/>
                  </a:lnTo>
                  <a:lnTo>
                    <a:pt x="69" y="192"/>
                  </a:lnTo>
                  <a:lnTo>
                    <a:pt x="69" y="14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172" y="17"/>
                  </a:lnTo>
                  <a:lnTo>
                    <a:pt x="207" y="17"/>
                  </a:lnTo>
                  <a:lnTo>
                    <a:pt x="276" y="33"/>
                  </a:lnTo>
                  <a:lnTo>
                    <a:pt x="311" y="17"/>
                  </a:lnTo>
                  <a:lnTo>
                    <a:pt x="328" y="0"/>
                  </a:lnTo>
                  <a:lnTo>
                    <a:pt x="362" y="17"/>
                  </a:lnTo>
                  <a:lnTo>
                    <a:pt x="328" y="48"/>
                  </a:lnTo>
                  <a:lnTo>
                    <a:pt x="311" y="33"/>
                  </a:lnTo>
                  <a:lnTo>
                    <a:pt x="259" y="33"/>
                  </a:lnTo>
                  <a:lnTo>
                    <a:pt x="241" y="129"/>
                  </a:lnTo>
                  <a:lnTo>
                    <a:pt x="224" y="144"/>
                  </a:lnTo>
                  <a:lnTo>
                    <a:pt x="224" y="209"/>
                  </a:lnTo>
                  <a:lnTo>
                    <a:pt x="224" y="305"/>
                  </a:lnTo>
                  <a:lnTo>
                    <a:pt x="190" y="320"/>
                  </a:lnTo>
                  <a:lnTo>
                    <a:pt x="155" y="320"/>
                  </a:lnTo>
                  <a:lnTo>
                    <a:pt x="138" y="305"/>
                  </a:lnTo>
                  <a:lnTo>
                    <a:pt x="121" y="32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3" name="Freeform 265">
              <a:extLst>
                <a:ext uri="{FF2B5EF4-FFF2-40B4-BE49-F238E27FC236}">
                  <a16:creationId xmlns:a16="http://schemas.microsoft.com/office/drawing/2014/main" id="{A2DEC2AB-6725-4C91-B76C-97992459B0FB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065712" y="5087938"/>
              <a:ext cx="358775" cy="292100"/>
            </a:xfrm>
            <a:custGeom>
              <a:avLst/>
              <a:gdLst>
                <a:gd name="T0" fmla="*/ 82733 w 451"/>
                <a:gd name="T1" fmla="*/ 2381 h 368"/>
                <a:gd name="T2" fmla="*/ 86711 w 451"/>
                <a:gd name="T3" fmla="*/ 21431 h 368"/>
                <a:gd name="T4" fmla="*/ 82733 w 451"/>
                <a:gd name="T5" fmla="*/ 21431 h 368"/>
                <a:gd name="T6" fmla="*/ 79551 w 451"/>
                <a:gd name="T7" fmla="*/ 25400 h 368"/>
                <a:gd name="T8" fmla="*/ 82733 w 451"/>
                <a:gd name="T9" fmla="*/ 28575 h 368"/>
                <a:gd name="T10" fmla="*/ 86711 w 451"/>
                <a:gd name="T11" fmla="*/ 25400 h 368"/>
                <a:gd name="T12" fmla="*/ 89893 w 451"/>
                <a:gd name="T13" fmla="*/ 25400 h 368"/>
                <a:gd name="T14" fmla="*/ 89893 w 451"/>
                <a:gd name="T15" fmla="*/ 28575 h 368"/>
                <a:gd name="T16" fmla="*/ 89893 w 451"/>
                <a:gd name="T17" fmla="*/ 37306 h 368"/>
                <a:gd name="T18" fmla="*/ 82733 w 451"/>
                <a:gd name="T19" fmla="*/ 40481 h 368"/>
                <a:gd name="T20" fmla="*/ 76369 w 451"/>
                <a:gd name="T21" fmla="*/ 50006 h 368"/>
                <a:gd name="T22" fmla="*/ 66027 w 451"/>
                <a:gd name="T23" fmla="*/ 60325 h 368"/>
                <a:gd name="T24" fmla="*/ 58868 w 451"/>
                <a:gd name="T25" fmla="*/ 66675 h 368"/>
                <a:gd name="T26" fmla="*/ 48526 w 451"/>
                <a:gd name="T27" fmla="*/ 69850 h 368"/>
                <a:gd name="T28" fmla="*/ 42162 w 451"/>
                <a:gd name="T29" fmla="*/ 69850 h 368"/>
                <a:gd name="T30" fmla="*/ 31820 w 451"/>
                <a:gd name="T31" fmla="*/ 69850 h 368"/>
                <a:gd name="T32" fmla="*/ 20683 w 451"/>
                <a:gd name="T33" fmla="*/ 73025 h 368"/>
                <a:gd name="T34" fmla="*/ 17501 w 451"/>
                <a:gd name="T35" fmla="*/ 73025 h 368"/>
                <a:gd name="T36" fmla="*/ 14319 w 451"/>
                <a:gd name="T37" fmla="*/ 69850 h 368"/>
                <a:gd name="T38" fmla="*/ 10342 w 451"/>
                <a:gd name="T39" fmla="*/ 60325 h 368"/>
                <a:gd name="T40" fmla="*/ 10342 w 451"/>
                <a:gd name="T41" fmla="*/ 57150 h 368"/>
                <a:gd name="T42" fmla="*/ 3978 w 451"/>
                <a:gd name="T43" fmla="*/ 37306 h 368"/>
                <a:gd name="T44" fmla="*/ 0 w 451"/>
                <a:gd name="T45" fmla="*/ 37306 h 368"/>
                <a:gd name="T46" fmla="*/ 3978 w 451"/>
                <a:gd name="T47" fmla="*/ 34925 h 368"/>
                <a:gd name="T48" fmla="*/ 7160 w 451"/>
                <a:gd name="T49" fmla="*/ 37306 h 368"/>
                <a:gd name="T50" fmla="*/ 14319 w 451"/>
                <a:gd name="T51" fmla="*/ 37306 h 368"/>
                <a:gd name="T52" fmla="*/ 20683 w 451"/>
                <a:gd name="T53" fmla="*/ 34925 h 368"/>
                <a:gd name="T54" fmla="*/ 20683 w 451"/>
                <a:gd name="T55" fmla="*/ 15875 h 368"/>
                <a:gd name="T56" fmla="*/ 24661 w 451"/>
                <a:gd name="T57" fmla="*/ 19050 h 368"/>
                <a:gd name="T58" fmla="*/ 24661 w 451"/>
                <a:gd name="T59" fmla="*/ 25400 h 368"/>
                <a:gd name="T60" fmla="*/ 31820 w 451"/>
                <a:gd name="T61" fmla="*/ 25400 h 368"/>
                <a:gd name="T62" fmla="*/ 42162 w 451"/>
                <a:gd name="T63" fmla="*/ 19050 h 368"/>
                <a:gd name="T64" fmla="*/ 45344 w 451"/>
                <a:gd name="T65" fmla="*/ 21431 h 368"/>
                <a:gd name="T66" fmla="*/ 48526 w 451"/>
                <a:gd name="T67" fmla="*/ 19050 h 368"/>
                <a:gd name="T68" fmla="*/ 62845 w 451"/>
                <a:gd name="T69" fmla="*/ 6350 h 368"/>
                <a:gd name="T70" fmla="*/ 72391 w 451"/>
                <a:gd name="T71" fmla="*/ 0 h 368"/>
                <a:gd name="T72" fmla="*/ 79551 w 451"/>
                <a:gd name="T73" fmla="*/ 2381 h 368"/>
                <a:gd name="T74" fmla="*/ 82733 w 451"/>
                <a:gd name="T75" fmla="*/ 2381 h 3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1"/>
                <a:gd name="T115" fmla="*/ 0 h 368"/>
                <a:gd name="T116" fmla="*/ 451 w 451"/>
                <a:gd name="T117" fmla="*/ 368 h 3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1" h="368">
                  <a:moveTo>
                    <a:pt x="416" y="15"/>
                  </a:moveTo>
                  <a:lnTo>
                    <a:pt x="433" y="111"/>
                  </a:lnTo>
                  <a:lnTo>
                    <a:pt x="416" y="111"/>
                  </a:lnTo>
                  <a:lnTo>
                    <a:pt x="399" y="128"/>
                  </a:lnTo>
                  <a:lnTo>
                    <a:pt x="416" y="143"/>
                  </a:lnTo>
                  <a:lnTo>
                    <a:pt x="433" y="128"/>
                  </a:lnTo>
                  <a:lnTo>
                    <a:pt x="451" y="128"/>
                  </a:lnTo>
                  <a:lnTo>
                    <a:pt x="451" y="143"/>
                  </a:lnTo>
                  <a:lnTo>
                    <a:pt x="451" y="191"/>
                  </a:lnTo>
                  <a:lnTo>
                    <a:pt x="416" y="207"/>
                  </a:lnTo>
                  <a:lnTo>
                    <a:pt x="382" y="255"/>
                  </a:lnTo>
                  <a:lnTo>
                    <a:pt x="330" y="303"/>
                  </a:lnTo>
                  <a:lnTo>
                    <a:pt x="295" y="335"/>
                  </a:lnTo>
                  <a:lnTo>
                    <a:pt x="243" y="351"/>
                  </a:lnTo>
                  <a:lnTo>
                    <a:pt x="209" y="351"/>
                  </a:lnTo>
                  <a:lnTo>
                    <a:pt x="157" y="351"/>
                  </a:lnTo>
                  <a:lnTo>
                    <a:pt x="103" y="368"/>
                  </a:lnTo>
                  <a:lnTo>
                    <a:pt x="86" y="368"/>
                  </a:lnTo>
                  <a:lnTo>
                    <a:pt x="69" y="351"/>
                  </a:lnTo>
                  <a:lnTo>
                    <a:pt x="51" y="303"/>
                  </a:lnTo>
                  <a:lnTo>
                    <a:pt x="51" y="287"/>
                  </a:lnTo>
                  <a:lnTo>
                    <a:pt x="17" y="191"/>
                  </a:lnTo>
                  <a:lnTo>
                    <a:pt x="0" y="191"/>
                  </a:lnTo>
                  <a:lnTo>
                    <a:pt x="17" y="176"/>
                  </a:lnTo>
                  <a:lnTo>
                    <a:pt x="34" y="191"/>
                  </a:lnTo>
                  <a:lnTo>
                    <a:pt x="69" y="191"/>
                  </a:lnTo>
                  <a:lnTo>
                    <a:pt x="103" y="176"/>
                  </a:lnTo>
                  <a:lnTo>
                    <a:pt x="103" y="80"/>
                  </a:lnTo>
                  <a:lnTo>
                    <a:pt x="121" y="96"/>
                  </a:lnTo>
                  <a:lnTo>
                    <a:pt x="121" y="128"/>
                  </a:lnTo>
                  <a:lnTo>
                    <a:pt x="157" y="128"/>
                  </a:lnTo>
                  <a:lnTo>
                    <a:pt x="209" y="96"/>
                  </a:lnTo>
                  <a:lnTo>
                    <a:pt x="226" y="111"/>
                  </a:lnTo>
                  <a:lnTo>
                    <a:pt x="243" y="96"/>
                  </a:lnTo>
                  <a:lnTo>
                    <a:pt x="313" y="32"/>
                  </a:lnTo>
                  <a:lnTo>
                    <a:pt x="364" y="0"/>
                  </a:lnTo>
                  <a:lnTo>
                    <a:pt x="399" y="15"/>
                  </a:lnTo>
                  <a:lnTo>
                    <a:pt x="416" y="1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4" name="Freeform 266">
              <a:extLst>
                <a:ext uri="{FF2B5EF4-FFF2-40B4-BE49-F238E27FC236}">
                  <a16:creationId xmlns:a16="http://schemas.microsoft.com/office/drawing/2014/main" id="{22B7A375-DDC6-4D72-B1D1-A5A525EF5654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148262" y="4999038"/>
              <a:ext cx="207963" cy="190500"/>
            </a:xfrm>
            <a:custGeom>
              <a:avLst/>
              <a:gdLst>
                <a:gd name="T0" fmla="*/ 0 w 261"/>
                <a:gd name="T1" fmla="*/ 38100 h 240"/>
                <a:gd name="T2" fmla="*/ 0 w 261"/>
                <a:gd name="T3" fmla="*/ 38100 h 240"/>
                <a:gd name="T4" fmla="*/ 3984 w 261"/>
                <a:gd name="T5" fmla="*/ 41275 h 240"/>
                <a:gd name="T6" fmla="*/ 3984 w 261"/>
                <a:gd name="T7" fmla="*/ 47625 h 240"/>
                <a:gd name="T8" fmla="*/ 10358 w 261"/>
                <a:gd name="T9" fmla="*/ 47625 h 240"/>
                <a:gd name="T10" fmla="*/ 20717 w 261"/>
                <a:gd name="T11" fmla="*/ 41275 h 240"/>
                <a:gd name="T12" fmla="*/ 24701 w 261"/>
                <a:gd name="T13" fmla="*/ 44450 h 240"/>
                <a:gd name="T14" fmla="*/ 27888 w 261"/>
                <a:gd name="T15" fmla="*/ 41275 h 240"/>
                <a:gd name="T16" fmla="*/ 42230 w 261"/>
                <a:gd name="T17" fmla="*/ 28575 h 240"/>
                <a:gd name="T18" fmla="*/ 52588 w 261"/>
                <a:gd name="T19" fmla="*/ 22225 h 240"/>
                <a:gd name="T20" fmla="*/ 45417 w 261"/>
                <a:gd name="T21" fmla="*/ 22225 h 240"/>
                <a:gd name="T22" fmla="*/ 42230 w 261"/>
                <a:gd name="T23" fmla="*/ 15875 h 240"/>
                <a:gd name="T24" fmla="*/ 35059 w 261"/>
                <a:gd name="T25" fmla="*/ 9525 h 240"/>
                <a:gd name="T26" fmla="*/ 27888 w 261"/>
                <a:gd name="T27" fmla="*/ 0 h 240"/>
                <a:gd name="T28" fmla="*/ 20717 w 261"/>
                <a:gd name="T29" fmla="*/ 6350 h 240"/>
                <a:gd name="T30" fmla="*/ 17529 w 261"/>
                <a:gd name="T31" fmla="*/ 3175 h 240"/>
                <a:gd name="T32" fmla="*/ 7171 w 261"/>
                <a:gd name="T33" fmla="*/ 3175 h 240"/>
                <a:gd name="T34" fmla="*/ 3984 w 261"/>
                <a:gd name="T35" fmla="*/ 22225 h 240"/>
                <a:gd name="T36" fmla="*/ 0 w 261"/>
                <a:gd name="T37" fmla="*/ 24606 h 240"/>
                <a:gd name="T38" fmla="*/ 0 w 261"/>
                <a:gd name="T39" fmla="*/ 38100 h 2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1"/>
                <a:gd name="T61" fmla="*/ 0 h 240"/>
                <a:gd name="T62" fmla="*/ 261 w 261"/>
                <a:gd name="T63" fmla="*/ 240 h 2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1" h="240">
                  <a:moveTo>
                    <a:pt x="0" y="192"/>
                  </a:moveTo>
                  <a:lnTo>
                    <a:pt x="0" y="192"/>
                  </a:lnTo>
                  <a:lnTo>
                    <a:pt x="18" y="208"/>
                  </a:lnTo>
                  <a:lnTo>
                    <a:pt x="18" y="240"/>
                  </a:lnTo>
                  <a:lnTo>
                    <a:pt x="52" y="240"/>
                  </a:lnTo>
                  <a:lnTo>
                    <a:pt x="104" y="208"/>
                  </a:lnTo>
                  <a:lnTo>
                    <a:pt x="121" y="223"/>
                  </a:lnTo>
                  <a:lnTo>
                    <a:pt x="139" y="208"/>
                  </a:lnTo>
                  <a:lnTo>
                    <a:pt x="210" y="144"/>
                  </a:lnTo>
                  <a:lnTo>
                    <a:pt x="261" y="112"/>
                  </a:lnTo>
                  <a:lnTo>
                    <a:pt x="227" y="112"/>
                  </a:lnTo>
                  <a:lnTo>
                    <a:pt x="210" y="79"/>
                  </a:lnTo>
                  <a:lnTo>
                    <a:pt x="173" y="48"/>
                  </a:lnTo>
                  <a:lnTo>
                    <a:pt x="139" y="0"/>
                  </a:lnTo>
                  <a:lnTo>
                    <a:pt x="104" y="31"/>
                  </a:lnTo>
                  <a:lnTo>
                    <a:pt x="87" y="16"/>
                  </a:lnTo>
                  <a:lnTo>
                    <a:pt x="35" y="16"/>
                  </a:lnTo>
                  <a:lnTo>
                    <a:pt x="18" y="112"/>
                  </a:lnTo>
                  <a:lnTo>
                    <a:pt x="0" y="127"/>
                  </a:lnTo>
                  <a:lnTo>
                    <a:pt x="0" y="19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5" name="Freeform 267">
              <a:extLst>
                <a:ext uri="{FF2B5EF4-FFF2-40B4-BE49-F238E27FC236}">
                  <a16:creationId xmlns:a16="http://schemas.microsoft.com/office/drawing/2014/main" id="{BAE81271-6CE9-42FB-89AB-4FCF1F26F7ED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259387" y="4960938"/>
              <a:ext cx="179388" cy="138113"/>
            </a:xfrm>
            <a:custGeom>
              <a:avLst/>
              <a:gdLst>
                <a:gd name="T0" fmla="*/ 27905 w 225"/>
                <a:gd name="T1" fmla="*/ 0 h 175"/>
                <a:gd name="T2" fmla="*/ 27905 w 225"/>
                <a:gd name="T3" fmla="*/ 0 h 175"/>
                <a:gd name="T4" fmla="*/ 20729 w 225"/>
                <a:gd name="T5" fmla="*/ 0 h 175"/>
                <a:gd name="T6" fmla="*/ 20729 w 225"/>
                <a:gd name="T7" fmla="*/ 3157 h 175"/>
                <a:gd name="T8" fmla="*/ 10365 w 225"/>
                <a:gd name="T9" fmla="*/ 9471 h 175"/>
                <a:gd name="T10" fmla="*/ 0 w 225"/>
                <a:gd name="T11" fmla="*/ 9471 h 175"/>
                <a:gd name="T12" fmla="*/ 7176 w 225"/>
                <a:gd name="T13" fmla="*/ 18941 h 175"/>
                <a:gd name="T14" fmla="*/ 14351 w 225"/>
                <a:gd name="T15" fmla="*/ 24466 h 175"/>
                <a:gd name="T16" fmla="*/ 17540 w 225"/>
                <a:gd name="T17" fmla="*/ 31569 h 175"/>
                <a:gd name="T18" fmla="*/ 24716 w 225"/>
                <a:gd name="T19" fmla="*/ 31569 h 175"/>
                <a:gd name="T20" fmla="*/ 31094 w 225"/>
                <a:gd name="T21" fmla="*/ 33936 h 175"/>
                <a:gd name="T22" fmla="*/ 35080 w 225"/>
                <a:gd name="T23" fmla="*/ 33936 h 175"/>
                <a:gd name="T24" fmla="*/ 41459 w 225"/>
                <a:gd name="T25" fmla="*/ 22098 h 175"/>
                <a:gd name="T26" fmla="*/ 45445 w 225"/>
                <a:gd name="T27" fmla="*/ 9471 h 175"/>
                <a:gd name="T28" fmla="*/ 41459 w 225"/>
                <a:gd name="T29" fmla="*/ 3157 h 175"/>
                <a:gd name="T30" fmla="*/ 35080 w 225"/>
                <a:gd name="T31" fmla="*/ 0 h 175"/>
                <a:gd name="T32" fmla="*/ 27905 w 225"/>
                <a:gd name="T33" fmla="*/ 0 h 1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5"/>
                <a:gd name="T52" fmla="*/ 0 h 175"/>
                <a:gd name="T53" fmla="*/ 225 w 225"/>
                <a:gd name="T54" fmla="*/ 175 h 1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5" h="175">
                  <a:moveTo>
                    <a:pt x="139" y="0"/>
                  </a:moveTo>
                  <a:lnTo>
                    <a:pt x="139" y="0"/>
                  </a:lnTo>
                  <a:lnTo>
                    <a:pt x="104" y="0"/>
                  </a:lnTo>
                  <a:lnTo>
                    <a:pt x="104" y="16"/>
                  </a:lnTo>
                  <a:lnTo>
                    <a:pt x="52" y="48"/>
                  </a:lnTo>
                  <a:lnTo>
                    <a:pt x="0" y="48"/>
                  </a:lnTo>
                  <a:lnTo>
                    <a:pt x="35" y="96"/>
                  </a:lnTo>
                  <a:lnTo>
                    <a:pt x="70" y="127"/>
                  </a:lnTo>
                  <a:lnTo>
                    <a:pt x="87" y="160"/>
                  </a:lnTo>
                  <a:lnTo>
                    <a:pt x="121" y="160"/>
                  </a:lnTo>
                  <a:lnTo>
                    <a:pt x="156" y="175"/>
                  </a:lnTo>
                  <a:lnTo>
                    <a:pt x="173" y="175"/>
                  </a:lnTo>
                  <a:lnTo>
                    <a:pt x="208" y="112"/>
                  </a:lnTo>
                  <a:lnTo>
                    <a:pt x="225" y="48"/>
                  </a:lnTo>
                  <a:lnTo>
                    <a:pt x="208" y="16"/>
                  </a:lnTo>
                  <a:lnTo>
                    <a:pt x="173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6" name="Freeform 268">
              <a:extLst>
                <a:ext uri="{FF2B5EF4-FFF2-40B4-BE49-F238E27FC236}">
                  <a16:creationId xmlns:a16="http://schemas.microsoft.com/office/drawing/2014/main" id="{230F4C46-43DC-4AFF-B7FE-4186155CA4EE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68924" y="4846638"/>
              <a:ext cx="233363" cy="342900"/>
            </a:xfrm>
            <a:custGeom>
              <a:avLst/>
              <a:gdLst>
                <a:gd name="T0" fmla="*/ 14336 w 293"/>
                <a:gd name="T1" fmla="*/ 85725 h 432"/>
                <a:gd name="T2" fmla="*/ 14336 w 293"/>
                <a:gd name="T3" fmla="*/ 85725 h 432"/>
                <a:gd name="T4" fmla="*/ 14336 w 293"/>
                <a:gd name="T5" fmla="*/ 82550 h 432"/>
                <a:gd name="T6" fmla="*/ 14336 w 293"/>
                <a:gd name="T7" fmla="*/ 79375 h 432"/>
                <a:gd name="T8" fmla="*/ 27876 w 293"/>
                <a:gd name="T9" fmla="*/ 76200 h 432"/>
                <a:gd name="T10" fmla="*/ 31062 w 293"/>
                <a:gd name="T11" fmla="*/ 73025 h 432"/>
                <a:gd name="T12" fmla="*/ 31062 w 293"/>
                <a:gd name="T13" fmla="*/ 63500 h 432"/>
                <a:gd name="T14" fmla="*/ 24690 w 293"/>
                <a:gd name="T15" fmla="*/ 50800 h 432"/>
                <a:gd name="T16" fmla="*/ 38230 w 293"/>
                <a:gd name="T17" fmla="*/ 38100 h 432"/>
                <a:gd name="T18" fmla="*/ 48584 w 293"/>
                <a:gd name="T19" fmla="*/ 34925 h 432"/>
                <a:gd name="T20" fmla="*/ 58938 w 293"/>
                <a:gd name="T21" fmla="*/ 24606 h 432"/>
                <a:gd name="T22" fmla="*/ 54956 w 293"/>
                <a:gd name="T23" fmla="*/ 0 h 432"/>
                <a:gd name="T24" fmla="*/ 48584 w 293"/>
                <a:gd name="T25" fmla="*/ 5556 h 432"/>
                <a:gd name="T26" fmla="*/ 34248 w 293"/>
                <a:gd name="T27" fmla="*/ 5556 h 432"/>
                <a:gd name="T28" fmla="*/ 27876 w 293"/>
                <a:gd name="T29" fmla="*/ 5556 h 432"/>
                <a:gd name="T30" fmla="*/ 24690 w 293"/>
                <a:gd name="T31" fmla="*/ 9525 h 432"/>
                <a:gd name="T32" fmla="*/ 27876 w 293"/>
                <a:gd name="T33" fmla="*/ 15875 h 432"/>
                <a:gd name="T34" fmla="*/ 31062 w 293"/>
                <a:gd name="T35" fmla="*/ 22225 h 432"/>
                <a:gd name="T36" fmla="*/ 31062 w 293"/>
                <a:gd name="T37" fmla="*/ 28575 h 432"/>
                <a:gd name="T38" fmla="*/ 27876 w 293"/>
                <a:gd name="T39" fmla="*/ 34925 h 432"/>
                <a:gd name="T40" fmla="*/ 24690 w 293"/>
                <a:gd name="T41" fmla="*/ 28575 h 432"/>
                <a:gd name="T42" fmla="*/ 24690 w 293"/>
                <a:gd name="T43" fmla="*/ 22225 h 432"/>
                <a:gd name="T44" fmla="*/ 20708 w 293"/>
                <a:gd name="T45" fmla="*/ 22225 h 432"/>
                <a:gd name="T46" fmla="*/ 17522 w 293"/>
                <a:gd name="T47" fmla="*/ 19050 h 432"/>
                <a:gd name="T48" fmla="*/ 0 w 293"/>
                <a:gd name="T49" fmla="*/ 24606 h 432"/>
                <a:gd name="T50" fmla="*/ 0 w 293"/>
                <a:gd name="T51" fmla="*/ 28575 h 432"/>
                <a:gd name="T52" fmla="*/ 7168 w 293"/>
                <a:gd name="T53" fmla="*/ 28575 h 432"/>
                <a:gd name="T54" fmla="*/ 14336 w 293"/>
                <a:gd name="T55" fmla="*/ 31750 h 432"/>
                <a:gd name="T56" fmla="*/ 17522 w 293"/>
                <a:gd name="T57" fmla="*/ 38100 h 432"/>
                <a:gd name="T58" fmla="*/ 14336 w 293"/>
                <a:gd name="T59" fmla="*/ 50800 h 432"/>
                <a:gd name="T60" fmla="*/ 7168 w 293"/>
                <a:gd name="T61" fmla="*/ 63500 h 432"/>
                <a:gd name="T62" fmla="*/ 10354 w 293"/>
                <a:gd name="T63" fmla="*/ 82550 h 432"/>
                <a:gd name="T64" fmla="*/ 10354 w 293"/>
                <a:gd name="T65" fmla="*/ 85725 h 432"/>
                <a:gd name="T66" fmla="*/ 14336 w 293"/>
                <a:gd name="T67" fmla="*/ 85725 h 4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93"/>
                <a:gd name="T103" fmla="*/ 0 h 432"/>
                <a:gd name="T104" fmla="*/ 293 w 293"/>
                <a:gd name="T105" fmla="*/ 432 h 4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93" h="432">
                  <a:moveTo>
                    <a:pt x="69" y="432"/>
                  </a:moveTo>
                  <a:lnTo>
                    <a:pt x="69" y="432"/>
                  </a:lnTo>
                  <a:lnTo>
                    <a:pt x="69" y="415"/>
                  </a:lnTo>
                  <a:lnTo>
                    <a:pt x="69" y="400"/>
                  </a:lnTo>
                  <a:lnTo>
                    <a:pt x="138" y="384"/>
                  </a:lnTo>
                  <a:lnTo>
                    <a:pt x="155" y="367"/>
                  </a:lnTo>
                  <a:lnTo>
                    <a:pt x="155" y="319"/>
                  </a:lnTo>
                  <a:lnTo>
                    <a:pt x="121" y="256"/>
                  </a:lnTo>
                  <a:lnTo>
                    <a:pt x="190" y="192"/>
                  </a:lnTo>
                  <a:lnTo>
                    <a:pt x="242" y="175"/>
                  </a:lnTo>
                  <a:lnTo>
                    <a:pt x="293" y="127"/>
                  </a:lnTo>
                  <a:lnTo>
                    <a:pt x="276" y="0"/>
                  </a:lnTo>
                  <a:lnTo>
                    <a:pt x="242" y="31"/>
                  </a:lnTo>
                  <a:lnTo>
                    <a:pt x="172" y="31"/>
                  </a:lnTo>
                  <a:lnTo>
                    <a:pt x="138" y="31"/>
                  </a:lnTo>
                  <a:lnTo>
                    <a:pt x="121" y="48"/>
                  </a:lnTo>
                  <a:lnTo>
                    <a:pt x="138" y="79"/>
                  </a:lnTo>
                  <a:lnTo>
                    <a:pt x="155" y="112"/>
                  </a:lnTo>
                  <a:lnTo>
                    <a:pt x="155" y="144"/>
                  </a:lnTo>
                  <a:lnTo>
                    <a:pt x="138" y="175"/>
                  </a:lnTo>
                  <a:lnTo>
                    <a:pt x="121" y="144"/>
                  </a:lnTo>
                  <a:lnTo>
                    <a:pt x="121" y="112"/>
                  </a:lnTo>
                  <a:lnTo>
                    <a:pt x="103" y="112"/>
                  </a:lnTo>
                  <a:lnTo>
                    <a:pt x="86" y="96"/>
                  </a:lnTo>
                  <a:lnTo>
                    <a:pt x="0" y="127"/>
                  </a:lnTo>
                  <a:lnTo>
                    <a:pt x="0" y="144"/>
                  </a:lnTo>
                  <a:lnTo>
                    <a:pt x="34" y="144"/>
                  </a:lnTo>
                  <a:lnTo>
                    <a:pt x="69" y="160"/>
                  </a:lnTo>
                  <a:lnTo>
                    <a:pt x="86" y="192"/>
                  </a:lnTo>
                  <a:lnTo>
                    <a:pt x="69" y="256"/>
                  </a:lnTo>
                  <a:lnTo>
                    <a:pt x="34" y="319"/>
                  </a:lnTo>
                  <a:lnTo>
                    <a:pt x="51" y="415"/>
                  </a:lnTo>
                  <a:lnTo>
                    <a:pt x="51" y="432"/>
                  </a:lnTo>
                  <a:lnTo>
                    <a:pt x="69" y="43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7" name="Freeform 269">
              <a:extLst>
                <a:ext uri="{FF2B5EF4-FFF2-40B4-BE49-F238E27FC236}">
                  <a16:creationId xmlns:a16="http://schemas.microsoft.com/office/drawing/2014/main" id="{84F5F2A2-3FB2-40BE-B103-943F5D34D23D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424487" y="4833938"/>
              <a:ext cx="68263" cy="152400"/>
            </a:xfrm>
            <a:custGeom>
              <a:avLst/>
              <a:gdLst>
                <a:gd name="T0" fmla="*/ 3969 w 86"/>
                <a:gd name="T1" fmla="*/ 22225 h 192"/>
                <a:gd name="T2" fmla="*/ 3969 w 86"/>
                <a:gd name="T3" fmla="*/ 22225 h 192"/>
                <a:gd name="T4" fmla="*/ 0 w 86"/>
                <a:gd name="T5" fmla="*/ 19050 h 192"/>
                <a:gd name="T6" fmla="*/ 3969 w 86"/>
                <a:gd name="T7" fmla="*/ 13494 h 192"/>
                <a:gd name="T8" fmla="*/ 3969 w 86"/>
                <a:gd name="T9" fmla="*/ 9525 h 192"/>
                <a:gd name="T10" fmla="*/ 7144 w 86"/>
                <a:gd name="T11" fmla="*/ 7144 h 192"/>
                <a:gd name="T12" fmla="*/ 3969 w 86"/>
                <a:gd name="T13" fmla="*/ 0 h 192"/>
                <a:gd name="T14" fmla="*/ 7144 w 86"/>
                <a:gd name="T15" fmla="*/ 0 h 192"/>
                <a:gd name="T16" fmla="*/ 10319 w 86"/>
                <a:gd name="T17" fmla="*/ 0 h 192"/>
                <a:gd name="T18" fmla="*/ 14288 w 86"/>
                <a:gd name="T19" fmla="*/ 9525 h 192"/>
                <a:gd name="T20" fmla="*/ 10319 w 86"/>
                <a:gd name="T21" fmla="*/ 13494 h 192"/>
                <a:gd name="T22" fmla="*/ 14288 w 86"/>
                <a:gd name="T23" fmla="*/ 19050 h 192"/>
                <a:gd name="T24" fmla="*/ 17463 w 86"/>
                <a:gd name="T25" fmla="*/ 26194 h 192"/>
                <a:gd name="T26" fmla="*/ 17463 w 86"/>
                <a:gd name="T27" fmla="*/ 32544 h 192"/>
                <a:gd name="T28" fmla="*/ 14288 w 86"/>
                <a:gd name="T29" fmla="*/ 38100 h 192"/>
                <a:gd name="T30" fmla="*/ 10319 w 86"/>
                <a:gd name="T31" fmla="*/ 32544 h 192"/>
                <a:gd name="T32" fmla="*/ 10319 w 86"/>
                <a:gd name="T33" fmla="*/ 26194 h 192"/>
                <a:gd name="T34" fmla="*/ 7144 w 86"/>
                <a:gd name="T35" fmla="*/ 26194 h 192"/>
                <a:gd name="T36" fmla="*/ 3969 w 86"/>
                <a:gd name="T37" fmla="*/ 22225 h 1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6"/>
                <a:gd name="T58" fmla="*/ 0 h 192"/>
                <a:gd name="T59" fmla="*/ 86 w 86"/>
                <a:gd name="T60" fmla="*/ 192 h 1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6" h="192">
                  <a:moveTo>
                    <a:pt x="17" y="113"/>
                  </a:moveTo>
                  <a:lnTo>
                    <a:pt x="17" y="113"/>
                  </a:lnTo>
                  <a:lnTo>
                    <a:pt x="0" y="96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2" y="0"/>
                  </a:lnTo>
                  <a:lnTo>
                    <a:pt x="69" y="48"/>
                  </a:lnTo>
                  <a:lnTo>
                    <a:pt x="52" y="65"/>
                  </a:lnTo>
                  <a:lnTo>
                    <a:pt x="69" y="96"/>
                  </a:lnTo>
                  <a:lnTo>
                    <a:pt x="86" y="129"/>
                  </a:lnTo>
                  <a:lnTo>
                    <a:pt x="86" y="161"/>
                  </a:lnTo>
                  <a:lnTo>
                    <a:pt x="69" y="192"/>
                  </a:lnTo>
                  <a:lnTo>
                    <a:pt x="52" y="161"/>
                  </a:lnTo>
                  <a:lnTo>
                    <a:pt x="52" y="129"/>
                  </a:lnTo>
                  <a:lnTo>
                    <a:pt x="34" y="129"/>
                  </a:lnTo>
                  <a:lnTo>
                    <a:pt x="17" y="11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8" name="Freeform 270">
              <a:extLst>
                <a:ext uri="{FF2B5EF4-FFF2-40B4-BE49-F238E27FC236}">
                  <a16:creationId xmlns:a16="http://schemas.microsoft.com/office/drawing/2014/main" id="{64068366-C756-48F3-8812-A7DCBACE46D1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383212" y="5175251"/>
              <a:ext cx="26988" cy="26988"/>
            </a:xfrm>
            <a:custGeom>
              <a:avLst/>
              <a:gdLst>
                <a:gd name="T0" fmla="*/ 7144 w 34"/>
                <a:gd name="T1" fmla="*/ 4217 h 32"/>
                <a:gd name="T2" fmla="*/ 7144 w 34"/>
                <a:gd name="T3" fmla="*/ 4217 h 32"/>
                <a:gd name="T4" fmla="*/ 7144 w 34"/>
                <a:gd name="T5" fmla="*/ 0 h 32"/>
                <a:gd name="T6" fmla="*/ 3175 w 34"/>
                <a:gd name="T7" fmla="*/ 0 h 32"/>
                <a:gd name="T8" fmla="*/ 0 w 34"/>
                <a:gd name="T9" fmla="*/ 4217 h 32"/>
                <a:gd name="T10" fmla="*/ 3175 w 34"/>
                <a:gd name="T11" fmla="*/ 7590 h 32"/>
                <a:gd name="T12" fmla="*/ 7144 w 34"/>
                <a:gd name="T13" fmla="*/ 4217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34" y="17"/>
                  </a:moveTo>
                  <a:lnTo>
                    <a:pt x="34" y="17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2"/>
                  </a:lnTo>
                  <a:lnTo>
                    <a:pt x="34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09" name="Freeform 271">
              <a:extLst>
                <a:ext uri="{FF2B5EF4-FFF2-40B4-BE49-F238E27FC236}">
                  <a16:creationId xmlns:a16="http://schemas.microsoft.com/office/drawing/2014/main" id="{C8384D88-E463-4BE4-9982-C973D818DE9B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659437" y="4884738"/>
              <a:ext cx="149225" cy="279400"/>
            </a:xfrm>
            <a:custGeom>
              <a:avLst/>
              <a:gdLst>
                <a:gd name="T0" fmla="*/ 0 w 189"/>
                <a:gd name="T1" fmla="*/ 50800 h 352"/>
                <a:gd name="T2" fmla="*/ 0 w 189"/>
                <a:gd name="T3" fmla="*/ 50800 h 352"/>
                <a:gd name="T4" fmla="*/ 3158 w 189"/>
                <a:gd name="T5" fmla="*/ 63500 h 352"/>
                <a:gd name="T6" fmla="*/ 6316 w 189"/>
                <a:gd name="T7" fmla="*/ 69850 h 352"/>
                <a:gd name="T8" fmla="*/ 16581 w 189"/>
                <a:gd name="T9" fmla="*/ 69850 h 352"/>
                <a:gd name="T10" fmla="*/ 20528 w 189"/>
                <a:gd name="T11" fmla="*/ 66675 h 352"/>
                <a:gd name="T12" fmla="*/ 30792 w 189"/>
                <a:gd name="T13" fmla="*/ 31750 h 352"/>
                <a:gd name="T14" fmla="*/ 33951 w 189"/>
                <a:gd name="T15" fmla="*/ 15875 h 352"/>
                <a:gd name="T16" fmla="*/ 37109 w 189"/>
                <a:gd name="T17" fmla="*/ 19050 h 352"/>
                <a:gd name="T18" fmla="*/ 37109 w 189"/>
                <a:gd name="T19" fmla="*/ 15875 h 352"/>
                <a:gd name="T20" fmla="*/ 33951 w 189"/>
                <a:gd name="T21" fmla="*/ 3175 h 352"/>
                <a:gd name="T22" fmla="*/ 30792 w 189"/>
                <a:gd name="T23" fmla="*/ 0 h 352"/>
                <a:gd name="T24" fmla="*/ 26845 w 189"/>
                <a:gd name="T25" fmla="*/ 5556 h 352"/>
                <a:gd name="T26" fmla="*/ 23687 w 189"/>
                <a:gd name="T27" fmla="*/ 5556 h 352"/>
                <a:gd name="T28" fmla="*/ 23687 w 189"/>
                <a:gd name="T29" fmla="*/ 12700 h 352"/>
                <a:gd name="T30" fmla="*/ 6316 w 189"/>
                <a:gd name="T31" fmla="*/ 22225 h 352"/>
                <a:gd name="T32" fmla="*/ 3158 w 189"/>
                <a:gd name="T33" fmla="*/ 28575 h 352"/>
                <a:gd name="T34" fmla="*/ 6316 w 189"/>
                <a:gd name="T35" fmla="*/ 41275 h 352"/>
                <a:gd name="T36" fmla="*/ 0 w 189"/>
                <a:gd name="T37" fmla="*/ 50800 h 3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352"/>
                <a:gd name="T59" fmla="*/ 189 w 189"/>
                <a:gd name="T60" fmla="*/ 352 h 3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352">
                  <a:moveTo>
                    <a:pt x="0" y="256"/>
                  </a:moveTo>
                  <a:lnTo>
                    <a:pt x="0" y="256"/>
                  </a:lnTo>
                  <a:lnTo>
                    <a:pt x="18" y="319"/>
                  </a:lnTo>
                  <a:lnTo>
                    <a:pt x="35" y="352"/>
                  </a:lnTo>
                  <a:lnTo>
                    <a:pt x="87" y="352"/>
                  </a:lnTo>
                  <a:lnTo>
                    <a:pt x="104" y="336"/>
                  </a:lnTo>
                  <a:lnTo>
                    <a:pt x="156" y="160"/>
                  </a:lnTo>
                  <a:lnTo>
                    <a:pt x="173" y="79"/>
                  </a:lnTo>
                  <a:lnTo>
                    <a:pt x="189" y="96"/>
                  </a:lnTo>
                  <a:lnTo>
                    <a:pt x="189" y="79"/>
                  </a:lnTo>
                  <a:lnTo>
                    <a:pt x="173" y="16"/>
                  </a:lnTo>
                  <a:lnTo>
                    <a:pt x="156" y="0"/>
                  </a:lnTo>
                  <a:lnTo>
                    <a:pt x="139" y="31"/>
                  </a:lnTo>
                  <a:lnTo>
                    <a:pt x="121" y="31"/>
                  </a:lnTo>
                  <a:lnTo>
                    <a:pt x="121" y="64"/>
                  </a:lnTo>
                  <a:lnTo>
                    <a:pt x="35" y="112"/>
                  </a:lnTo>
                  <a:lnTo>
                    <a:pt x="18" y="144"/>
                  </a:lnTo>
                  <a:lnTo>
                    <a:pt x="35" y="208"/>
                  </a:lnTo>
                  <a:lnTo>
                    <a:pt x="0" y="25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0" name="Freeform 272">
              <a:extLst>
                <a:ext uri="{FF2B5EF4-FFF2-40B4-BE49-F238E27FC236}">
                  <a16:creationId xmlns:a16="http://schemas.microsoft.com/office/drawing/2014/main" id="{DA55CDF4-805C-4562-94A3-8DBEC1BBFF9F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62649" y="5049838"/>
              <a:ext cx="11113" cy="11113"/>
            </a:xfrm>
            <a:custGeom>
              <a:avLst/>
              <a:gdLst>
                <a:gd name="T0" fmla="*/ 0 w 16"/>
                <a:gd name="T1" fmla="*/ 2223 h 15"/>
                <a:gd name="T2" fmla="*/ 0 w 16"/>
                <a:gd name="T3" fmla="*/ 2223 h 15"/>
                <a:gd name="T4" fmla="*/ 2084 w 16"/>
                <a:gd name="T5" fmla="*/ 2223 h 15"/>
                <a:gd name="T6" fmla="*/ 0 w 16"/>
                <a:gd name="T7" fmla="*/ 0 h 15"/>
                <a:gd name="T8" fmla="*/ 0 w 16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0" y="15"/>
                  </a:moveTo>
                  <a:lnTo>
                    <a:pt x="0" y="15"/>
                  </a:lnTo>
                  <a:lnTo>
                    <a:pt x="16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1" name="Freeform 273">
              <a:extLst>
                <a:ext uri="{FF2B5EF4-FFF2-40B4-BE49-F238E27FC236}">
                  <a16:creationId xmlns:a16="http://schemas.microsoft.com/office/drawing/2014/main" id="{47886728-06FF-4FC1-BAAA-3A34254AC6F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900613" y="4567238"/>
              <a:ext cx="12700" cy="12700"/>
            </a:xfrm>
            <a:custGeom>
              <a:avLst/>
              <a:gdLst>
                <a:gd name="T0" fmla="*/ 0 w 18"/>
                <a:gd name="T1" fmla="*/ 2822 h 18"/>
                <a:gd name="T2" fmla="*/ 0 w 18"/>
                <a:gd name="T3" fmla="*/ 2822 h 18"/>
                <a:gd name="T4" fmla="*/ 2822 w 18"/>
                <a:gd name="T5" fmla="*/ 0 h 18"/>
                <a:gd name="T6" fmla="*/ 0 w 18"/>
                <a:gd name="T7" fmla="*/ 0 h 18"/>
                <a:gd name="T8" fmla="*/ 0 w 18"/>
                <a:gd name="T9" fmla="*/ 282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2" name="Freeform 274">
              <a:extLst>
                <a:ext uri="{FF2B5EF4-FFF2-40B4-BE49-F238E27FC236}">
                  <a16:creationId xmlns:a16="http://schemas.microsoft.com/office/drawing/2014/main" id="{451B30D3-A6A4-45E1-AF33-7F3DACCD98B0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300662" y="5227638"/>
              <a:ext cx="55563" cy="50800"/>
            </a:xfrm>
            <a:custGeom>
              <a:avLst/>
              <a:gdLst>
                <a:gd name="T0" fmla="*/ 14495 w 69"/>
                <a:gd name="T1" fmla="*/ 6451 h 63"/>
                <a:gd name="T2" fmla="*/ 14495 w 69"/>
                <a:gd name="T3" fmla="*/ 6451 h 63"/>
                <a:gd name="T4" fmla="*/ 10468 w 69"/>
                <a:gd name="T5" fmla="*/ 9676 h 63"/>
                <a:gd name="T6" fmla="*/ 4026 w 69"/>
                <a:gd name="T7" fmla="*/ 12902 h 63"/>
                <a:gd name="T8" fmla="*/ 0 w 69"/>
                <a:gd name="T9" fmla="*/ 9676 h 63"/>
                <a:gd name="T10" fmla="*/ 7247 w 69"/>
                <a:gd name="T11" fmla="*/ 0 h 63"/>
                <a:gd name="T12" fmla="*/ 10468 w 69"/>
                <a:gd name="T13" fmla="*/ 3225 h 63"/>
                <a:gd name="T14" fmla="*/ 14495 w 69"/>
                <a:gd name="T15" fmla="*/ 6451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63"/>
                <a:gd name="T26" fmla="*/ 69 w 69"/>
                <a:gd name="T27" fmla="*/ 63 h 6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63">
                  <a:moveTo>
                    <a:pt x="69" y="31"/>
                  </a:moveTo>
                  <a:lnTo>
                    <a:pt x="69" y="31"/>
                  </a:lnTo>
                  <a:lnTo>
                    <a:pt x="52" y="48"/>
                  </a:lnTo>
                  <a:lnTo>
                    <a:pt x="18" y="63"/>
                  </a:lnTo>
                  <a:lnTo>
                    <a:pt x="0" y="48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69" y="31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3" name="Freeform 275">
              <a:extLst>
                <a:ext uri="{FF2B5EF4-FFF2-40B4-BE49-F238E27FC236}">
                  <a16:creationId xmlns:a16="http://schemas.microsoft.com/office/drawing/2014/main" id="{B67F653B-7BCF-4750-AFB9-15C7D0EE5370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356224" y="4656138"/>
              <a:ext cx="234950" cy="215900"/>
            </a:xfrm>
            <a:custGeom>
              <a:avLst/>
              <a:gdLst>
                <a:gd name="T0" fmla="*/ 20637 w 296"/>
                <a:gd name="T1" fmla="*/ 44779 h 270"/>
                <a:gd name="T2" fmla="*/ 20637 w 296"/>
                <a:gd name="T3" fmla="*/ 44779 h 270"/>
                <a:gd name="T4" fmla="*/ 10319 w 296"/>
                <a:gd name="T5" fmla="*/ 38382 h 270"/>
                <a:gd name="T6" fmla="*/ 7144 w 296"/>
                <a:gd name="T7" fmla="*/ 38382 h 270"/>
                <a:gd name="T8" fmla="*/ 0 w 296"/>
                <a:gd name="T9" fmla="*/ 28787 h 270"/>
                <a:gd name="T10" fmla="*/ 0 w 296"/>
                <a:gd name="T11" fmla="*/ 19191 h 270"/>
                <a:gd name="T12" fmla="*/ 7144 w 296"/>
                <a:gd name="T13" fmla="*/ 12794 h 270"/>
                <a:gd name="T14" fmla="*/ 7144 w 296"/>
                <a:gd name="T15" fmla="*/ 9596 h 270"/>
                <a:gd name="T16" fmla="*/ 7144 w 296"/>
                <a:gd name="T17" fmla="*/ 6397 h 270"/>
                <a:gd name="T18" fmla="*/ 7144 w 296"/>
                <a:gd name="T19" fmla="*/ 0 h 270"/>
                <a:gd name="T20" fmla="*/ 14288 w 296"/>
                <a:gd name="T21" fmla="*/ 0 h 270"/>
                <a:gd name="T22" fmla="*/ 23812 w 296"/>
                <a:gd name="T23" fmla="*/ 0 h 270"/>
                <a:gd name="T24" fmla="*/ 27781 w 296"/>
                <a:gd name="T25" fmla="*/ 0 h 270"/>
                <a:gd name="T26" fmla="*/ 44450 w 296"/>
                <a:gd name="T27" fmla="*/ 9596 h 270"/>
                <a:gd name="T28" fmla="*/ 44450 w 296"/>
                <a:gd name="T29" fmla="*/ 15993 h 270"/>
                <a:gd name="T30" fmla="*/ 55563 w 296"/>
                <a:gd name="T31" fmla="*/ 19191 h 270"/>
                <a:gd name="T32" fmla="*/ 52388 w 296"/>
                <a:gd name="T33" fmla="*/ 25588 h 270"/>
                <a:gd name="T34" fmla="*/ 55563 w 296"/>
                <a:gd name="T35" fmla="*/ 31985 h 270"/>
                <a:gd name="T36" fmla="*/ 55563 w 296"/>
                <a:gd name="T37" fmla="*/ 41581 h 270"/>
                <a:gd name="T38" fmla="*/ 55563 w 296"/>
                <a:gd name="T39" fmla="*/ 44779 h 270"/>
                <a:gd name="T40" fmla="*/ 58738 w 296"/>
                <a:gd name="T41" fmla="*/ 47978 h 270"/>
                <a:gd name="T42" fmla="*/ 52388 w 296"/>
                <a:gd name="T43" fmla="*/ 55174 h 270"/>
                <a:gd name="T44" fmla="*/ 37306 w 296"/>
                <a:gd name="T45" fmla="*/ 55174 h 270"/>
                <a:gd name="T46" fmla="*/ 30956 w 296"/>
                <a:gd name="T47" fmla="*/ 55174 h 270"/>
                <a:gd name="T48" fmla="*/ 27781 w 296"/>
                <a:gd name="T49" fmla="*/ 44779 h 270"/>
                <a:gd name="T50" fmla="*/ 23812 w 296"/>
                <a:gd name="T51" fmla="*/ 44779 h 270"/>
                <a:gd name="T52" fmla="*/ 20637 w 296"/>
                <a:gd name="T53" fmla="*/ 44779 h 27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6"/>
                <a:gd name="T82" fmla="*/ 0 h 270"/>
                <a:gd name="T83" fmla="*/ 296 w 296"/>
                <a:gd name="T84" fmla="*/ 270 h 27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6" h="270">
                  <a:moveTo>
                    <a:pt x="104" y="222"/>
                  </a:moveTo>
                  <a:lnTo>
                    <a:pt x="104" y="222"/>
                  </a:lnTo>
                  <a:lnTo>
                    <a:pt x="52" y="191"/>
                  </a:lnTo>
                  <a:lnTo>
                    <a:pt x="35" y="191"/>
                  </a:lnTo>
                  <a:lnTo>
                    <a:pt x="0" y="143"/>
                  </a:lnTo>
                  <a:lnTo>
                    <a:pt x="0" y="95"/>
                  </a:lnTo>
                  <a:lnTo>
                    <a:pt x="35" y="63"/>
                  </a:lnTo>
                  <a:lnTo>
                    <a:pt x="35" y="47"/>
                  </a:lnTo>
                  <a:lnTo>
                    <a:pt x="35" y="30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0"/>
                  </a:lnTo>
                  <a:lnTo>
                    <a:pt x="139" y="0"/>
                  </a:lnTo>
                  <a:lnTo>
                    <a:pt x="225" y="47"/>
                  </a:lnTo>
                  <a:lnTo>
                    <a:pt x="225" y="78"/>
                  </a:lnTo>
                  <a:lnTo>
                    <a:pt x="279" y="95"/>
                  </a:lnTo>
                  <a:lnTo>
                    <a:pt x="261" y="126"/>
                  </a:lnTo>
                  <a:lnTo>
                    <a:pt x="279" y="159"/>
                  </a:lnTo>
                  <a:lnTo>
                    <a:pt x="279" y="207"/>
                  </a:lnTo>
                  <a:lnTo>
                    <a:pt x="279" y="222"/>
                  </a:lnTo>
                  <a:lnTo>
                    <a:pt x="296" y="239"/>
                  </a:lnTo>
                  <a:lnTo>
                    <a:pt x="261" y="270"/>
                  </a:lnTo>
                  <a:lnTo>
                    <a:pt x="190" y="270"/>
                  </a:lnTo>
                  <a:lnTo>
                    <a:pt x="156" y="270"/>
                  </a:lnTo>
                  <a:lnTo>
                    <a:pt x="139" y="222"/>
                  </a:lnTo>
                  <a:lnTo>
                    <a:pt x="121" y="222"/>
                  </a:lnTo>
                  <a:lnTo>
                    <a:pt x="104" y="22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4" name="Freeform 276">
              <a:extLst>
                <a:ext uri="{FF2B5EF4-FFF2-40B4-BE49-F238E27FC236}">
                  <a16:creationId xmlns:a16="http://schemas.microsoft.com/office/drawing/2014/main" id="{9AD91F4E-DFDC-4553-AF55-F2A08833A87F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900613" y="4592638"/>
              <a:ext cx="125413" cy="127000"/>
            </a:xfrm>
            <a:custGeom>
              <a:avLst/>
              <a:gdLst>
                <a:gd name="T0" fmla="*/ 6271 w 160"/>
                <a:gd name="T1" fmla="*/ 7189 h 159"/>
                <a:gd name="T2" fmla="*/ 6271 w 160"/>
                <a:gd name="T3" fmla="*/ 7189 h 159"/>
                <a:gd name="T4" fmla="*/ 13325 w 160"/>
                <a:gd name="T5" fmla="*/ 7189 h 159"/>
                <a:gd name="T6" fmla="*/ 13325 w 160"/>
                <a:gd name="T7" fmla="*/ 0 h 159"/>
                <a:gd name="T8" fmla="*/ 23515 w 160"/>
                <a:gd name="T9" fmla="*/ 0 h 159"/>
                <a:gd name="T10" fmla="*/ 23515 w 160"/>
                <a:gd name="T11" fmla="*/ 7189 h 159"/>
                <a:gd name="T12" fmla="*/ 27434 w 160"/>
                <a:gd name="T13" fmla="*/ 3195 h 159"/>
                <a:gd name="T14" fmla="*/ 30569 w 160"/>
                <a:gd name="T15" fmla="*/ 7189 h 159"/>
                <a:gd name="T16" fmla="*/ 30569 w 160"/>
                <a:gd name="T17" fmla="*/ 9585 h 159"/>
                <a:gd name="T18" fmla="*/ 30569 w 160"/>
                <a:gd name="T19" fmla="*/ 22365 h 159"/>
                <a:gd name="T20" fmla="*/ 20380 w 160"/>
                <a:gd name="T21" fmla="*/ 22365 h 159"/>
                <a:gd name="T22" fmla="*/ 17244 w 160"/>
                <a:gd name="T23" fmla="*/ 25560 h 159"/>
                <a:gd name="T24" fmla="*/ 17244 w 160"/>
                <a:gd name="T25" fmla="*/ 28755 h 159"/>
                <a:gd name="T26" fmla="*/ 13325 w 160"/>
                <a:gd name="T27" fmla="*/ 28755 h 159"/>
                <a:gd name="T28" fmla="*/ 13325 w 160"/>
                <a:gd name="T29" fmla="*/ 31950 h 159"/>
                <a:gd name="T30" fmla="*/ 6271 w 160"/>
                <a:gd name="T31" fmla="*/ 25560 h 159"/>
                <a:gd name="T32" fmla="*/ 0 w 160"/>
                <a:gd name="T33" fmla="*/ 16774 h 159"/>
                <a:gd name="T34" fmla="*/ 3135 w 160"/>
                <a:gd name="T35" fmla="*/ 12780 h 159"/>
                <a:gd name="T36" fmla="*/ 3135 w 160"/>
                <a:gd name="T37" fmla="*/ 9585 h 159"/>
                <a:gd name="T38" fmla="*/ 6271 w 160"/>
                <a:gd name="T39" fmla="*/ 7189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60"/>
                <a:gd name="T61" fmla="*/ 0 h 159"/>
                <a:gd name="T62" fmla="*/ 160 w 160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60" h="159">
                  <a:moveTo>
                    <a:pt x="35" y="33"/>
                  </a:moveTo>
                  <a:lnTo>
                    <a:pt x="35" y="33"/>
                  </a:lnTo>
                  <a:lnTo>
                    <a:pt x="71" y="33"/>
                  </a:lnTo>
                  <a:lnTo>
                    <a:pt x="71" y="0"/>
                  </a:lnTo>
                  <a:lnTo>
                    <a:pt x="123" y="0"/>
                  </a:lnTo>
                  <a:lnTo>
                    <a:pt x="123" y="33"/>
                  </a:lnTo>
                  <a:lnTo>
                    <a:pt x="142" y="15"/>
                  </a:lnTo>
                  <a:lnTo>
                    <a:pt x="160" y="33"/>
                  </a:lnTo>
                  <a:lnTo>
                    <a:pt x="160" y="48"/>
                  </a:lnTo>
                  <a:lnTo>
                    <a:pt x="160" y="111"/>
                  </a:lnTo>
                  <a:lnTo>
                    <a:pt x="106" y="111"/>
                  </a:lnTo>
                  <a:lnTo>
                    <a:pt x="89" y="128"/>
                  </a:lnTo>
                  <a:lnTo>
                    <a:pt x="89" y="144"/>
                  </a:lnTo>
                  <a:lnTo>
                    <a:pt x="71" y="144"/>
                  </a:lnTo>
                  <a:lnTo>
                    <a:pt x="71" y="159"/>
                  </a:lnTo>
                  <a:lnTo>
                    <a:pt x="35" y="128"/>
                  </a:lnTo>
                  <a:lnTo>
                    <a:pt x="0" y="81"/>
                  </a:lnTo>
                  <a:lnTo>
                    <a:pt x="18" y="63"/>
                  </a:lnTo>
                  <a:lnTo>
                    <a:pt x="18" y="48"/>
                  </a:lnTo>
                  <a:lnTo>
                    <a:pt x="35" y="33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5" name="Freeform 277">
              <a:extLst>
                <a:ext uri="{FF2B5EF4-FFF2-40B4-BE49-F238E27FC236}">
                  <a16:creationId xmlns:a16="http://schemas.microsoft.com/office/drawing/2014/main" id="{1493C08E-91B6-481F-8726-7F44B13C8431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956174" y="4567238"/>
              <a:ext cx="165100" cy="177800"/>
            </a:xfrm>
            <a:custGeom>
              <a:avLst/>
              <a:gdLst>
                <a:gd name="T0" fmla="*/ 27781 w 208"/>
                <a:gd name="T1" fmla="*/ 3161 h 225"/>
                <a:gd name="T2" fmla="*/ 27781 w 208"/>
                <a:gd name="T3" fmla="*/ 3161 h 225"/>
                <a:gd name="T4" fmla="*/ 27781 w 208"/>
                <a:gd name="T5" fmla="*/ 9483 h 225"/>
                <a:gd name="T6" fmla="*/ 10319 w 208"/>
                <a:gd name="T7" fmla="*/ 6322 h 225"/>
                <a:gd name="T8" fmla="*/ 10319 w 208"/>
                <a:gd name="T9" fmla="*/ 12644 h 225"/>
                <a:gd name="T10" fmla="*/ 14288 w 208"/>
                <a:gd name="T11" fmla="*/ 9483 h 225"/>
                <a:gd name="T12" fmla="*/ 17463 w 208"/>
                <a:gd name="T13" fmla="*/ 12644 h 225"/>
                <a:gd name="T14" fmla="*/ 17463 w 208"/>
                <a:gd name="T15" fmla="*/ 15804 h 225"/>
                <a:gd name="T16" fmla="*/ 17463 w 208"/>
                <a:gd name="T17" fmla="*/ 28448 h 225"/>
                <a:gd name="T18" fmla="*/ 7144 w 208"/>
                <a:gd name="T19" fmla="*/ 28448 h 225"/>
                <a:gd name="T20" fmla="*/ 3969 w 208"/>
                <a:gd name="T21" fmla="*/ 31609 h 225"/>
                <a:gd name="T22" fmla="*/ 3969 w 208"/>
                <a:gd name="T23" fmla="*/ 34770 h 225"/>
                <a:gd name="T24" fmla="*/ 0 w 208"/>
                <a:gd name="T25" fmla="*/ 34770 h 225"/>
                <a:gd name="T26" fmla="*/ 0 w 208"/>
                <a:gd name="T27" fmla="*/ 37931 h 225"/>
                <a:gd name="T28" fmla="*/ 7144 w 208"/>
                <a:gd name="T29" fmla="*/ 44252 h 225"/>
                <a:gd name="T30" fmla="*/ 7144 w 208"/>
                <a:gd name="T31" fmla="*/ 41092 h 225"/>
                <a:gd name="T32" fmla="*/ 10319 w 208"/>
                <a:gd name="T33" fmla="*/ 41092 h 225"/>
                <a:gd name="T34" fmla="*/ 17463 w 208"/>
                <a:gd name="T35" fmla="*/ 41092 h 225"/>
                <a:gd name="T36" fmla="*/ 23812 w 208"/>
                <a:gd name="T37" fmla="*/ 37931 h 225"/>
                <a:gd name="T38" fmla="*/ 27781 w 208"/>
                <a:gd name="T39" fmla="*/ 28448 h 225"/>
                <a:gd name="T40" fmla="*/ 34925 w 208"/>
                <a:gd name="T41" fmla="*/ 22126 h 225"/>
                <a:gd name="T42" fmla="*/ 41275 w 208"/>
                <a:gd name="T43" fmla="*/ 0 h 225"/>
                <a:gd name="T44" fmla="*/ 30956 w 208"/>
                <a:gd name="T45" fmla="*/ 3161 h 225"/>
                <a:gd name="T46" fmla="*/ 27781 w 208"/>
                <a:gd name="T47" fmla="*/ 3161 h 2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8"/>
                <a:gd name="T73" fmla="*/ 0 h 225"/>
                <a:gd name="T74" fmla="*/ 208 w 208"/>
                <a:gd name="T75" fmla="*/ 225 h 2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8" h="225">
                  <a:moveTo>
                    <a:pt x="139" y="18"/>
                  </a:moveTo>
                  <a:lnTo>
                    <a:pt x="139" y="18"/>
                  </a:lnTo>
                  <a:lnTo>
                    <a:pt x="139" y="48"/>
                  </a:lnTo>
                  <a:lnTo>
                    <a:pt x="52" y="33"/>
                  </a:lnTo>
                  <a:lnTo>
                    <a:pt x="52" y="66"/>
                  </a:lnTo>
                  <a:lnTo>
                    <a:pt x="70" y="48"/>
                  </a:lnTo>
                  <a:lnTo>
                    <a:pt x="87" y="66"/>
                  </a:lnTo>
                  <a:lnTo>
                    <a:pt x="87" y="81"/>
                  </a:lnTo>
                  <a:lnTo>
                    <a:pt x="87" y="144"/>
                  </a:lnTo>
                  <a:lnTo>
                    <a:pt x="35" y="144"/>
                  </a:lnTo>
                  <a:lnTo>
                    <a:pt x="18" y="161"/>
                  </a:lnTo>
                  <a:lnTo>
                    <a:pt x="18" y="177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35" y="225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87" y="209"/>
                  </a:lnTo>
                  <a:lnTo>
                    <a:pt x="121" y="192"/>
                  </a:lnTo>
                  <a:lnTo>
                    <a:pt x="139" y="144"/>
                  </a:lnTo>
                  <a:lnTo>
                    <a:pt x="173" y="114"/>
                  </a:lnTo>
                  <a:lnTo>
                    <a:pt x="208" y="0"/>
                  </a:lnTo>
                  <a:lnTo>
                    <a:pt x="156" y="18"/>
                  </a:lnTo>
                  <a:lnTo>
                    <a:pt x="139" y="1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6" name="Freeform 278">
              <a:extLst>
                <a:ext uri="{FF2B5EF4-FFF2-40B4-BE49-F238E27FC236}">
                  <a16:creationId xmlns:a16="http://schemas.microsoft.com/office/drawing/2014/main" id="{651F6EA8-E9D1-43CA-85D3-2C7301BF3B5D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983162" y="4541838"/>
              <a:ext cx="414338" cy="368300"/>
            </a:xfrm>
            <a:custGeom>
              <a:avLst/>
              <a:gdLst>
                <a:gd name="T0" fmla="*/ 83664 w 520"/>
                <a:gd name="T1" fmla="*/ 0 h 462"/>
                <a:gd name="T2" fmla="*/ 83664 w 520"/>
                <a:gd name="T3" fmla="*/ 0 h 462"/>
                <a:gd name="T4" fmla="*/ 58963 w 520"/>
                <a:gd name="T5" fmla="*/ 0 h 462"/>
                <a:gd name="T6" fmla="*/ 55776 w 520"/>
                <a:gd name="T7" fmla="*/ 3189 h 462"/>
                <a:gd name="T8" fmla="*/ 45418 w 520"/>
                <a:gd name="T9" fmla="*/ 3189 h 462"/>
                <a:gd name="T10" fmla="*/ 41434 w 520"/>
                <a:gd name="T11" fmla="*/ 0 h 462"/>
                <a:gd name="T12" fmla="*/ 38247 w 520"/>
                <a:gd name="T13" fmla="*/ 0 h 462"/>
                <a:gd name="T14" fmla="*/ 35059 w 520"/>
                <a:gd name="T15" fmla="*/ 6377 h 462"/>
                <a:gd name="T16" fmla="*/ 27888 w 520"/>
                <a:gd name="T17" fmla="*/ 28699 h 462"/>
                <a:gd name="T18" fmla="*/ 20717 w 520"/>
                <a:gd name="T19" fmla="*/ 35076 h 462"/>
                <a:gd name="T20" fmla="*/ 17530 w 520"/>
                <a:gd name="T21" fmla="*/ 44642 h 462"/>
                <a:gd name="T22" fmla="*/ 10358 w 520"/>
                <a:gd name="T23" fmla="*/ 47831 h 462"/>
                <a:gd name="T24" fmla="*/ 3984 w 520"/>
                <a:gd name="T25" fmla="*/ 47831 h 462"/>
                <a:gd name="T26" fmla="*/ 0 w 520"/>
                <a:gd name="T27" fmla="*/ 54209 h 462"/>
                <a:gd name="T28" fmla="*/ 0 w 520"/>
                <a:gd name="T29" fmla="*/ 57397 h 462"/>
                <a:gd name="T30" fmla="*/ 7171 w 520"/>
                <a:gd name="T31" fmla="*/ 54209 h 462"/>
                <a:gd name="T32" fmla="*/ 20717 w 520"/>
                <a:gd name="T33" fmla="*/ 54209 h 462"/>
                <a:gd name="T34" fmla="*/ 24701 w 520"/>
                <a:gd name="T35" fmla="*/ 54209 h 462"/>
                <a:gd name="T36" fmla="*/ 24701 w 520"/>
                <a:gd name="T37" fmla="*/ 60586 h 462"/>
                <a:gd name="T38" fmla="*/ 31075 w 520"/>
                <a:gd name="T39" fmla="*/ 66964 h 462"/>
                <a:gd name="T40" fmla="*/ 38247 w 520"/>
                <a:gd name="T41" fmla="*/ 63775 h 462"/>
                <a:gd name="T42" fmla="*/ 38247 w 520"/>
                <a:gd name="T43" fmla="*/ 60586 h 462"/>
                <a:gd name="T44" fmla="*/ 45418 w 520"/>
                <a:gd name="T45" fmla="*/ 60586 h 462"/>
                <a:gd name="T46" fmla="*/ 51792 w 520"/>
                <a:gd name="T47" fmla="*/ 63775 h 462"/>
                <a:gd name="T48" fmla="*/ 51792 w 520"/>
                <a:gd name="T49" fmla="*/ 73341 h 462"/>
                <a:gd name="T50" fmla="*/ 55776 w 520"/>
                <a:gd name="T51" fmla="*/ 76530 h 462"/>
                <a:gd name="T52" fmla="*/ 51792 w 520"/>
                <a:gd name="T53" fmla="*/ 79719 h 462"/>
                <a:gd name="T54" fmla="*/ 51792 w 520"/>
                <a:gd name="T55" fmla="*/ 82907 h 462"/>
                <a:gd name="T56" fmla="*/ 62151 w 520"/>
                <a:gd name="T57" fmla="*/ 79719 h 462"/>
                <a:gd name="T58" fmla="*/ 76493 w 520"/>
                <a:gd name="T59" fmla="*/ 86096 h 462"/>
                <a:gd name="T60" fmla="*/ 79680 w 520"/>
                <a:gd name="T61" fmla="*/ 82907 h 462"/>
                <a:gd name="T62" fmla="*/ 90039 w 520"/>
                <a:gd name="T63" fmla="*/ 89285 h 462"/>
                <a:gd name="T64" fmla="*/ 94023 w 520"/>
                <a:gd name="T65" fmla="*/ 93271 h 462"/>
                <a:gd name="T66" fmla="*/ 94023 w 520"/>
                <a:gd name="T67" fmla="*/ 86096 h 462"/>
                <a:gd name="T68" fmla="*/ 90039 w 520"/>
                <a:gd name="T69" fmla="*/ 86096 h 462"/>
                <a:gd name="T70" fmla="*/ 90039 w 520"/>
                <a:gd name="T71" fmla="*/ 82907 h 462"/>
                <a:gd name="T72" fmla="*/ 90039 w 520"/>
                <a:gd name="T73" fmla="*/ 70152 h 462"/>
                <a:gd name="T74" fmla="*/ 90039 w 520"/>
                <a:gd name="T75" fmla="*/ 66964 h 462"/>
                <a:gd name="T76" fmla="*/ 100397 w 520"/>
                <a:gd name="T77" fmla="*/ 66964 h 462"/>
                <a:gd name="T78" fmla="*/ 94023 w 520"/>
                <a:gd name="T79" fmla="*/ 57397 h 462"/>
                <a:gd name="T80" fmla="*/ 94023 w 520"/>
                <a:gd name="T81" fmla="*/ 47831 h 462"/>
                <a:gd name="T82" fmla="*/ 94023 w 520"/>
                <a:gd name="T83" fmla="*/ 41454 h 462"/>
                <a:gd name="T84" fmla="*/ 94023 w 520"/>
                <a:gd name="T85" fmla="*/ 38265 h 462"/>
                <a:gd name="T86" fmla="*/ 90039 w 520"/>
                <a:gd name="T87" fmla="*/ 38265 h 462"/>
                <a:gd name="T88" fmla="*/ 94023 w 520"/>
                <a:gd name="T89" fmla="*/ 31887 h 462"/>
                <a:gd name="T90" fmla="*/ 97210 w 520"/>
                <a:gd name="T91" fmla="*/ 22321 h 462"/>
                <a:gd name="T92" fmla="*/ 100397 w 520"/>
                <a:gd name="T93" fmla="*/ 19132 h 462"/>
                <a:gd name="T94" fmla="*/ 104381 w 520"/>
                <a:gd name="T95" fmla="*/ 12755 h 462"/>
                <a:gd name="T96" fmla="*/ 100397 w 520"/>
                <a:gd name="T97" fmla="*/ 12755 h 462"/>
                <a:gd name="T98" fmla="*/ 100397 w 520"/>
                <a:gd name="T99" fmla="*/ 6377 h 462"/>
                <a:gd name="T100" fmla="*/ 97210 w 520"/>
                <a:gd name="T101" fmla="*/ 3189 h 462"/>
                <a:gd name="T102" fmla="*/ 86852 w 520"/>
                <a:gd name="T103" fmla="*/ 3189 h 462"/>
                <a:gd name="T104" fmla="*/ 83664 w 520"/>
                <a:gd name="T105" fmla="*/ 0 h 4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0"/>
                <a:gd name="T160" fmla="*/ 0 h 462"/>
                <a:gd name="T161" fmla="*/ 520 w 520"/>
                <a:gd name="T162" fmla="*/ 462 h 4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0" h="462">
                  <a:moveTo>
                    <a:pt x="417" y="0"/>
                  </a:moveTo>
                  <a:lnTo>
                    <a:pt x="417" y="0"/>
                  </a:lnTo>
                  <a:lnTo>
                    <a:pt x="294" y="0"/>
                  </a:lnTo>
                  <a:lnTo>
                    <a:pt x="276" y="15"/>
                  </a:lnTo>
                  <a:lnTo>
                    <a:pt x="225" y="15"/>
                  </a:lnTo>
                  <a:lnTo>
                    <a:pt x="207" y="0"/>
                  </a:lnTo>
                  <a:lnTo>
                    <a:pt x="190" y="0"/>
                  </a:lnTo>
                  <a:lnTo>
                    <a:pt x="173" y="30"/>
                  </a:lnTo>
                  <a:lnTo>
                    <a:pt x="138" y="144"/>
                  </a:lnTo>
                  <a:lnTo>
                    <a:pt x="104" y="174"/>
                  </a:lnTo>
                  <a:lnTo>
                    <a:pt x="86" y="222"/>
                  </a:lnTo>
                  <a:lnTo>
                    <a:pt x="52" y="239"/>
                  </a:lnTo>
                  <a:lnTo>
                    <a:pt x="17" y="239"/>
                  </a:lnTo>
                  <a:lnTo>
                    <a:pt x="0" y="270"/>
                  </a:lnTo>
                  <a:lnTo>
                    <a:pt x="0" y="287"/>
                  </a:lnTo>
                  <a:lnTo>
                    <a:pt x="35" y="270"/>
                  </a:lnTo>
                  <a:lnTo>
                    <a:pt x="104" y="270"/>
                  </a:lnTo>
                  <a:lnTo>
                    <a:pt x="121" y="270"/>
                  </a:lnTo>
                  <a:lnTo>
                    <a:pt x="121" y="303"/>
                  </a:lnTo>
                  <a:lnTo>
                    <a:pt x="155" y="335"/>
                  </a:lnTo>
                  <a:lnTo>
                    <a:pt x="190" y="318"/>
                  </a:lnTo>
                  <a:lnTo>
                    <a:pt x="190" y="303"/>
                  </a:lnTo>
                  <a:lnTo>
                    <a:pt x="225" y="303"/>
                  </a:lnTo>
                  <a:lnTo>
                    <a:pt x="259" y="318"/>
                  </a:lnTo>
                  <a:lnTo>
                    <a:pt x="259" y="366"/>
                  </a:lnTo>
                  <a:lnTo>
                    <a:pt x="276" y="383"/>
                  </a:lnTo>
                  <a:lnTo>
                    <a:pt x="259" y="399"/>
                  </a:lnTo>
                  <a:lnTo>
                    <a:pt x="259" y="414"/>
                  </a:lnTo>
                  <a:lnTo>
                    <a:pt x="311" y="399"/>
                  </a:lnTo>
                  <a:lnTo>
                    <a:pt x="380" y="431"/>
                  </a:lnTo>
                  <a:lnTo>
                    <a:pt x="397" y="414"/>
                  </a:lnTo>
                  <a:lnTo>
                    <a:pt x="451" y="447"/>
                  </a:lnTo>
                  <a:lnTo>
                    <a:pt x="468" y="462"/>
                  </a:lnTo>
                  <a:lnTo>
                    <a:pt x="468" y="431"/>
                  </a:lnTo>
                  <a:lnTo>
                    <a:pt x="451" y="431"/>
                  </a:lnTo>
                  <a:lnTo>
                    <a:pt x="451" y="414"/>
                  </a:lnTo>
                  <a:lnTo>
                    <a:pt x="451" y="351"/>
                  </a:lnTo>
                  <a:lnTo>
                    <a:pt x="451" y="335"/>
                  </a:lnTo>
                  <a:lnTo>
                    <a:pt x="503" y="335"/>
                  </a:lnTo>
                  <a:lnTo>
                    <a:pt x="468" y="287"/>
                  </a:lnTo>
                  <a:lnTo>
                    <a:pt x="468" y="239"/>
                  </a:lnTo>
                  <a:lnTo>
                    <a:pt x="468" y="207"/>
                  </a:lnTo>
                  <a:lnTo>
                    <a:pt x="468" y="191"/>
                  </a:lnTo>
                  <a:lnTo>
                    <a:pt x="451" y="191"/>
                  </a:lnTo>
                  <a:lnTo>
                    <a:pt x="468" y="159"/>
                  </a:lnTo>
                  <a:lnTo>
                    <a:pt x="486" y="111"/>
                  </a:lnTo>
                  <a:lnTo>
                    <a:pt x="503" y="96"/>
                  </a:lnTo>
                  <a:lnTo>
                    <a:pt x="520" y="63"/>
                  </a:lnTo>
                  <a:lnTo>
                    <a:pt x="503" y="63"/>
                  </a:lnTo>
                  <a:lnTo>
                    <a:pt x="503" y="30"/>
                  </a:lnTo>
                  <a:lnTo>
                    <a:pt x="486" y="15"/>
                  </a:lnTo>
                  <a:lnTo>
                    <a:pt x="434" y="15"/>
                  </a:lnTo>
                  <a:lnTo>
                    <a:pt x="417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7" name="Freeform 279">
              <a:extLst>
                <a:ext uri="{FF2B5EF4-FFF2-40B4-BE49-F238E27FC236}">
                  <a16:creationId xmlns:a16="http://schemas.microsoft.com/office/drawing/2014/main" id="{9FC9151E-CB23-4177-8415-395CB809D37A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189537" y="4808538"/>
              <a:ext cx="261938" cy="190500"/>
            </a:xfrm>
            <a:custGeom>
              <a:avLst/>
              <a:gdLst>
                <a:gd name="T0" fmla="*/ 10319 w 330"/>
                <a:gd name="T1" fmla="*/ 12700 h 240"/>
                <a:gd name="T2" fmla="*/ 10319 w 330"/>
                <a:gd name="T3" fmla="*/ 12700 h 240"/>
                <a:gd name="T4" fmla="*/ 23813 w 330"/>
                <a:gd name="T5" fmla="*/ 19050 h 240"/>
                <a:gd name="T6" fmla="*/ 27781 w 330"/>
                <a:gd name="T7" fmla="*/ 15875 h 240"/>
                <a:gd name="T8" fmla="*/ 38100 w 330"/>
                <a:gd name="T9" fmla="*/ 22225 h 240"/>
                <a:gd name="T10" fmla="*/ 41275 w 330"/>
                <a:gd name="T11" fmla="*/ 24606 h 240"/>
                <a:gd name="T12" fmla="*/ 41275 w 330"/>
                <a:gd name="T13" fmla="*/ 19050 h 240"/>
                <a:gd name="T14" fmla="*/ 38100 w 330"/>
                <a:gd name="T15" fmla="*/ 19050 h 240"/>
                <a:gd name="T16" fmla="*/ 38100 w 330"/>
                <a:gd name="T17" fmla="*/ 15875 h 240"/>
                <a:gd name="T18" fmla="*/ 38100 w 330"/>
                <a:gd name="T19" fmla="*/ 3175 h 240"/>
                <a:gd name="T20" fmla="*/ 38100 w 330"/>
                <a:gd name="T21" fmla="*/ 0 h 240"/>
                <a:gd name="T22" fmla="*/ 48419 w 330"/>
                <a:gd name="T23" fmla="*/ 0 h 240"/>
                <a:gd name="T24" fmla="*/ 52388 w 330"/>
                <a:gd name="T25" fmla="*/ 0 h 240"/>
                <a:gd name="T26" fmla="*/ 62706 w 330"/>
                <a:gd name="T27" fmla="*/ 6350 h 240"/>
                <a:gd name="T28" fmla="*/ 65881 w 330"/>
                <a:gd name="T29" fmla="*/ 12700 h 240"/>
                <a:gd name="T30" fmla="*/ 62706 w 330"/>
                <a:gd name="T31" fmla="*/ 15875 h 240"/>
                <a:gd name="T32" fmla="*/ 62706 w 330"/>
                <a:gd name="T33" fmla="*/ 19050 h 240"/>
                <a:gd name="T34" fmla="*/ 58738 w 330"/>
                <a:gd name="T35" fmla="*/ 24606 h 240"/>
                <a:gd name="T36" fmla="*/ 62706 w 330"/>
                <a:gd name="T37" fmla="*/ 28575 h 240"/>
                <a:gd name="T38" fmla="*/ 44450 w 330"/>
                <a:gd name="T39" fmla="*/ 34925 h 240"/>
                <a:gd name="T40" fmla="*/ 44450 w 330"/>
                <a:gd name="T41" fmla="*/ 38100 h 240"/>
                <a:gd name="T42" fmla="*/ 38100 w 330"/>
                <a:gd name="T43" fmla="*/ 38100 h 240"/>
                <a:gd name="T44" fmla="*/ 38100 w 330"/>
                <a:gd name="T45" fmla="*/ 41275 h 240"/>
                <a:gd name="T46" fmla="*/ 27781 w 330"/>
                <a:gd name="T47" fmla="*/ 47625 h 240"/>
                <a:gd name="T48" fmla="*/ 17463 w 330"/>
                <a:gd name="T49" fmla="*/ 47625 h 240"/>
                <a:gd name="T50" fmla="*/ 10319 w 330"/>
                <a:gd name="T51" fmla="*/ 44450 h 240"/>
                <a:gd name="T52" fmla="*/ 7144 w 330"/>
                <a:gd name="T53" fmla="*/ 47625 h 240"/>
                <a:gd name="T54" fmla="*/ 0 w 330"/>
                <a:gd name="T55" fmla="*/ 41275 h 240"/>
                <a:gd name="T56" fmla="*/ 0 w 330"/>
                <a:gd name="T57" fmla="*/ 24606 h 240"/>
                <a:gd name="T58" fmla="*/ 14288 w 330"/>
                <a:gd name="T59" fmla="*/ 22225 h 240"/>
                <a:gd name="T60" fmla="*/ 10319 w 330"/>
                <a:gd name="T61" fmla="*/ 12700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0"/>
                <a:gd name="T94" fmla="*/ 0 h 240"/>
                <a:gd name="T95" fmla="*/ 330 w 330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0" h="240">
                  <a:moveTo>
                    <a:pt x="52" y="64"/>
                  </a:moveTo>
                  <a:lnTo>
                    <a:pt x="52" y="64"/>
                  </a:lnTo>
                  <a:lnTo>
                    <a:pt x="123" y="96"/>
                  </a:lnTo>
                  <a:lnTo>
                    <a:pt x="140" y="79"/>
                  </a:lnTo>
                  <a:lnTo>
                    <a:pt x="192" y="112"/>
                  </a:lnTo>
                  <a:lnTo>
                    <a:pt x="209" y="127"/>
                  </a:lnTo>
                  <a:lnTo>
                    <a:pt x="209" y="96"/>
                  </a:lnTo>
                  <a:lnTo>
                    <a:pt x="192" y="96"/>
                  </a:lnTo>
                  <a:lnTo>
                    <a:pt x="192" y="79"/>
                  </a:lnTo>
                  <a:lnTo>
                    <a:pt x="192" y="16"/>
                  </a:lnTo>
                  <a:lnTo>
                    <a:pt x="192" y="0"/>
                  </a:lnTo>
                  <a:lnTo>
                    <a:pt x="244" y="0"/>
                  </a:lnTo>
                  <a:lnTo>
                    <a:pt x="261" y="0"/>
                  </a:lnTo>
                  <a:lnTo>
                    <a:pt x="313" y="31"/>
                  </a:lnTo>
                  <a:lnTo>
                    <a:pt x="330" y="64"/>
                  </a:lnTo>
                  <a:lnTo>
                    <a:pt x="313" y="79"/>
                  </a:lnTo>
                  <a:lnTo>
                    <a:pt x="313" y="96"/>
                  </a:lnTo>
                  <a:lnTo>
                    <a:pt x="296" y="127"/>
                  </a:lnTo>
                  <a:lnTo>
                    <a:pt x="313" y="144"/>
                  </a:lnTo>
                  <a:lnTo>
                    <a:pt x="227" y="175"/>
                  </a:lnTo>
                  <a:lnTo>
                    <a:pt x="227" y="192"/>
                  </a:lnTo>
                  <a:lnTo>
                    <a:pt x="192" y="192"/>
                  </a:lnTo>
                  <a:lnTo>
                    <a:pt x="192" y="208"/>
                  </a:lnTo>
                  <a:lnTo>
                    <a:pt x="140" y="240"/>
                  </a:lnTo>
                  <a:lnTo>
                    <a:pt x="88" y="240"/>
                  </a:lnTo>
                  <a:lnTo>
                    <a:pt x="52" y="223"/>
                  </a:lnTo>
                  <a:lnTo>
                    <a:pt x="35" y="240"/>
                  </a:lnTo>
                  <a:lnTo>
                    <a:pt x="0" y="208"/>
                  </a:lnTo>
                  <a:lnTo>
                    <a:pt x="0" y="127"/>
                  </a:lnTo>
                  <a:lnTo>
                    <a:pt x="69" y="112"/>
                  </a:lnTo>
                  <a:lnTo>
                    <a:pt x="52" y="6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8" name="Freeform 280">
              <a:extLst>
                <a:ext uri="{FF2B5EF4-FFF2-40B4-BE49-F238E27FC236}">
                  <a16:creationId xmlns:a16="http://schemas.microsoft.com/office/drawing/2014/main" id="{601574FF-8864-4442-8908-94D2834A8A9D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972049" y="4757738"/>
              <a:ext cx="274638" cy="254000"/>
            </a:xfrm>
            <a:custGeom>
              <a:avLst/>
              <a:gdLst>
                <a:gd name="T0" fmla="*/ 0 w 345"/>
                <a:gd name="T1" fmla="*/ 56972 h 321"/>
                <a:gd name="T2" fmla="*/ 0 w 345"/>
                <a:gd name="T3" fmla="*/ 56972 h 321"/>
                <a:gd name="T4" fmla="*/ 7164 w 345"/>
                <a:gd name="T5" fmla="*/ 56972 h 321"/>
                <a:gd name="T6" fmla="*/ 14329 w 345"/>
                <a:gd name="T7" fmla="*/ 56972 h 321"/>
                <a:gd name="T8" fmla="*/ 34230 w 345"/>
                <a:gd name="T9" fmla="*/ 60137 h 321"/>
                <a:gd name="T10" fmla="*/ 41395 w 345"/>
                <a:gd name="T11" fmla="*/ 60137 h 321"/>
                <a:gd name="T12" fmla="*/ 54928 w 345"/>
                <a:gd name="T13" fmla="*/ 63302 h 321"/>
                <a:gd name="T14" fmla="*/ 62092 w 345"/>
                <a:gd name="T15" fmla="*/ 60137 h 321"/>
                <a:gd name="T16" fmla="*/ 54928 w 345"/>
                <a:gd name="T17" fmla="*/ 53807 h 321"/>
                <a:gd name="T18" fmla="*/ 54928 w 345"/>
                <a:gd name="T19" fmla="*/ 37981 h 321"/>
                <a:gd name="T20" fmla="*/ 69257 w 345"/>
                <a:gd name="T21" fmla="*/ 34816 h 321"/>
                <a:gd name="T22" fmla="*/ 65276 w 345"/>
                <a:gd name="T23" fmla="*/ 25321 h 321"/>
                <a:gd name="T24" fmla="*/ 54928 w 345"/>
                <a:gd name="T25" fmla="*/ 28486 h 321"/>
                <a:gd name="T26" fmla="*/ 54928 w 345"/>
                <a:gd name="T27" fmla="*/ 25321 h 321"/>
                <a:gd name="T28" fmla="*/ 58908 w 345"/>
                <a:gd name="T29" fmla="*/ 22156 h 321"/>
                <a:gd name="T30" fmla="*/ 54928 w 345"/>
                <a:gd name="T31" fmla="*/ 18991 h 321"/>
                <a:gd name="T32" fmla="*/ 54928 w 345"/>
                <a:gd name="T33" fmla="*/ 9495 h 321"/>
                <a:gd name="T34" fmla="*/ 48559 w 345"/>
                <a:gd name="T35" fmla="*/ 6330 h 321"/>
                <a:gd name="T36" fmla="*/ 41395 w 345"/>
                <a:gd name="T37" fmla="*/ 6330 h 321"/>
                <a:gd name="T38" fmla="*/ 41395 w 345"/>
                <a:gd name="T39" fmla="*/ 9495 h 321"/>
                <a:gd name="T40" fmla="*/ 34230 w 345"/>
                <a:gd name="T41" fmla="*/ 12660 h 321"/>
                <a:gd name="T42" fmla="*/ 27862 w 345"/>
                <a:gd name="T43" fmla="*/ 6330 h 321"/>
                <a:gd name="T44" fmla="*/ 27862 w 345"/>
                <a:gd name="T45" fmla="*/ 0 h 321"/>
                <a:gd name="T46" fmla="*/ 24678 w 345"/>
                <a:gd name="T47" fmla="*/ 0 h 321"/>
                <a:gd name="T48" fmla="*/ 10349 w 345"/>
                <a:gd name="T49" fmla="*/ 0 h 321"/>
                <a:gd name="T50" fmla="*/ 3980 w 345"/>
                <a:gd name="T51" fmla="*/ 3165 h 321"/>
                <a:gd name="T52" fmla="*/ 7164 w 345"/>
                <a:gd name="T53" fmla="*/ 12660 h 321"/>
                <a:gd name="T54" fmla="*/ 7164 w 345"/>
                <a:gd name="T55" fmla="*/ 15826 h 321"/>
                <a:gd name="T56" fmla="*/ 10349 w 345"/>
                <a:gd name="T57" fmla="*/ 28486 h 321"/>
                <a:gd name="T58" fmla="*/ 10349 w 345"/>
                <a:gd name="T59" fmla="*/ 34816 h 321"/>
                <a:gd name="T60" fmla="*/ 3980 w 345"/>
                <a:gd name="T61" fmla="*/ 37981 h 321"/>
                <a:gd name="T62" fmla="*/ 0 w 345"/>
                <a:gd name="T63" fmla="*/ 50642 h 321"/>
                <a:gd name="T64" fmla="*/ 0 w 345"/>
                <a:gd name="T65" fmla="*/ 56972 h 3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321"/>
                <a:gd name="T101" fmla="*/ 345 w 345"/>
                <a:gd name="T102" fmla="*/ 321 h 3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321">
                  <a:moveTo>
                    <a:pt x="0" y="288"/>
                  </a:moveTo>
                  <a:lnTo>
                    <a:pt x="0" y="288"/>
                  </a:lnTo>
                  <a:lnTo>
                    <a:pt x="34" y="288"/>
                  </a:lnTo>
                  <a:lnTo>
                    <a:pt x="69" y="288"/>
                  </a:lnTo>
                  <a:lnTo>
                    <a:pt x="172" y="305"/>
                  </a:lnTo>
                  <a:lnTo>
                    <a:pt x="207" y="305"/>
                  </a:lnTo>
                  <a:lnTo>
                    <a:pt x="276" y="321"/>
                  </a:lnTo>
                  <a:lnTo>
                    <a:pt x="311" y="305"/>
                  </a:lnTo>
                  <a:lnTo>
                    <a:pt x="276" y="273"/>
                  </a:lnTo>
                  <a:lnTo>
                    <a:pt x="276" y="192"/>
                  </a:lnTo>
                  <a:lnTo>
                    <a:pt x="345" y="177"/>
                  </a:lnTo>
                  <a:lnTo>
                    <a:pt x="328" y="129"/>
                  </a:lnTo>
                  <a:lnTo>
                    <a:pt x="276" y="144"/>
                  </a:lnTo>
                  <a:lnTo>
                    <a:pt x="276" y="129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76" y="48"/>
                  </a:lnTo>
                  <a:lnTo>
                    <a:pt x="241" y="33"/>
                  </a:lnTo>
                  <a:lnTo>
                    <a:pt x="207" y="33"/>
                  </a:lnTo>
                  <a:lnTo>
                    <a:pt x="207" y="48"/>
                  </a:lnTo>
                  <a:lnTo>
                    <a:pt x="172" y="65"/>
                  </a:lnTo>
                  <a:lnTo>
                    <a:pt x="138" y="33"/>
                  </a:lnTo>
                  <a:lnTo>
                    <a:pt x="138" y="0"/>
                  </a:lnTo>
                  <a:lnTo>
                    <a:pt x="121" y="0"/>
                  </a:lnTo>
                  <a:lnTo>
                    <a:pt x="51" y="0"/>
                  </a:lnTo>
                  <a:lnTo>
                    <a:pt x="17" y="17"/>
                  </a:lnTo>
                  <a:lnTo>
                    <a:pt x="34" y="65"/>
                  </a:lnTo>
                  <a:lnTo>
                    <a:pt x="34" y="81"/>
                  </a:lnTo>
                  <a:lnTo>
                    <a:pt x="51" y="144"/>
                  </a:lnTo>
                  <a:lnTo>
                    <a:pt x="51" y="177"/>
                  </a:lnTo>
                  <a:lnTo>
                    <a:pt x="17" y="192"/>
                  </a:lnTo>
                  <a:lnTo>
                    <a:pt x="0" y="257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19" name="Freeform 281">
              <a:extLst>
                <a:ext uri="{FF2B5EF4-FFF2-40B4-BE49-F238E27FC236}">
                  <a16:creationId xmlns:a16="http://schemas.microsoft.com/office/drawing/2014/main" id="{E32E6B4E-5FE1-4A5B-AE6D-0AD7ED56F1F7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913313" y="3944938"/>
              <a:ext cx="346075" cy="304800"/>
            </a:xfrm>
            <a:custGeom>
              <a:avLst/>
              <a:gdLst>
                <a:gd name="T0" fmla="*/ 14320 w 435"/>
                <a:gd name="T1" fmla="*/ 54769 h 384"/>
                <a:gd name="T2" fmla="*/ 14320 w 435"/>
                <a:gd name="T3" fmla="*/ 54769 h 384"/>
                <a:gd name="T4" fmla="*/ 10342 w 435"/>
                <a:gd name="T5" fmla="*/ 47625 h 384"/>
                <a:gd name="T6" fmla="*/ 7160 w 435"/>
                <a:gd name="T7" fmla="*/ 47625 h 384"/>
                <a:gd name="T8" fmla="*/ 0 w 435"/>
                <a:gd name="T9" fmla="*/ 38100 h 384"/>
                <a:gd name="T10" fmla="*/ 3978 w 435"/>
                <a:gd name="T11" fmla="*/ 35719 h 384"/>
                <a:gd name="T12" fmla="*/ 3978 w 435"/>
                <a:gd name="T13" fmla="*/ 28575 h 384"/>
                <a:gd name="T14" fmla="*/ 3978 w 435"/>
                <a:gd name="T15" fmla="*/ 22225 h 384"/>
                <a:gd name="T16" fmla="*/ 0 w 435"/>
                <a:gd name="T17" fmla="*/ 19050 h 384"/>
                <a:gd name="T18" fmla="*/ 0 w 435"/>
                <a:gd name="T19" fmla="*/ 16669 h 384"/>
                <a:gd name="T20" fmla="*/ 3978 w 435"/>
                <a:gd name="T21" fmla="*/ 12700 h 384"/>
                <a:gd name="T22" fmla="*/ 3978 w 435"/>
                <a:gd name="T23" fmla="*/ 9525 h 384"/>
                <a:gd name="T24" fmla="*/ 10342 w 435"/>
                <a:gd name="T25" fmla="*/ 3175 h 384"/>
                <a:gd name="T26" fmla="*/ 10342 w 435"/>
                <a:gd name="T27" fmla="*/ 0 h 384"/>
                <a:gd name="T28" fmla="*/ 17503 w 435"/>
                <a:gd name="T29" fmla="*/ 0 h 384"/>
                <a:gd name="T30" fmla="*/ 27845 w 435"/>
                <a:gd name="T31" fmla="*/ 3175 h 384"/>
                <a:gd name="T32" fmla="*/ 35005 w 435"/>
                <a:gd name="T33" fmla="*/ 3175 h 384"/>
                <a:gd name="T34" fmla="*/ 35005 w 435"/>
                <a:gd name="T35" fmla="*/ 9525 h 384"/>
                <a:gd name="T36" fmla="*/ 55690 w 435"/>
                <a:gd name="T37" fmla="*/ 16669 h 384"/>
                <a:gd name="T38" fmla="*/ 58873 w 435"/>
                <a:gd name="T39" fmla="*/ 12700 h 384"/>
                <a:gd name="T40" fmla="*/ 58873 w 435"/>
                <a:gd name="T41" fmla="*/ 7144 h 384"/>
                <a:gd name="T42" fmla="*/ 70011 w 435"/>
                <a:gd name="T43" fmla="*/ 0 h 384"/>
                <a:gd name="T44" fmla="*/ 76375 w 435"/>
                <a:gd name="T45" fmla="*/ 3175 h 384"/>
                <a:gd name="T46" fmla="*/ 76375 w 435"/>
                <a:gd name="T47" fmla="*/ 7144 h 384"/>
                <a:gd name="T48" fmla="*/ 86718 w 435"/>
                <a:gd name="T49" fmla="*/ 7144 h 384"/>
                <a:gd name="T50" fmla="*/ 83535 w 435"/>
                <a:gd name="T51" fmla="*/ 19050 h 384"/>
                <a:gd name="T52" fmla="*/ 86718 w 435"/>
                <a:gd name="T53" fmla="*/ 26194 h 384"/>
                <a:gd name="T54" fmla="*/ 86718 w 435"/>
                <a:gd name="T55" fmla="*/ 60325 h 384"/>
                <a:gd name="T56" fmla="*/ 86718 w 435"/>
                <a:gd name="T57" fmla="*/ 69850 h 384"/>
                <a:gd name="T58" fmla="*/ 83535 w 435"/>
                <a:gd name="T59" fmla="*/ 73819 h 384"/>
                <a:gd name="T60" fmla="*/ 80353 w 435"/>
                <a:gd name="T61" fmla="*/ 76200 h 384"/>
                <a:gd name="T62" fmla="*/ 38188 w 435"/>
                <a:gd name="T63" fmla="*/ 54769 h 384"/>
                <a:gd name="T64" fmla="*/ 31823 w 435"/>
                <a:gd name="T65" fmla="*/ 57150 h 384"/>
                <a:gd name="T66" fmla="*/ 27845 w 435"/>
                <a:gd name="T67" fmla="*/ 54769 h 384"/>
                <a:gd name="T68" fmla="*/ 14320 w 435"/>
                <a:gd name="T69" fmla="*/ 54769 h 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5"/>
                <a:gd name="T106" fmla="*/ 0 h 384"/>
                <a:gd name="T107" fmla="*/ 435 w 435"/>
                <a:gd name="T108" fmla="*/ 384 h 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5" h="384">
                  <a:moveTo>
                    <a:pt x="69" y="273"/>
                  </a:moveTo>
                  <a:lnTo>
                    <a:pt x="69" y="273"/>
                  </a:lnTo>
                  <a:lnTo>
                    <a:pt x="51" y="240"/>
                  </a:lnTo>
                  <a:lnTo>
                    <a:pt x="34" y="240"/>
                  </a:lnTo>
                  <a:lnTo>
                    <a:pt x="0" y="192"/>
                  </a:lnTo>
                  <a:lnTo>
                    <a:pt x="17" y="177"/>
                  </a:lnTo>
                  <a:lnTo>
                    <a:pt x="17" y="144"/>
                  </a:lnTo>
                  <a:lnTo>
                    <a:pt x="17" y="112"/>
                  </a:lnTo>
                  <a:lnTo>
                    <a:pt x="0" y="96"/>
                  </a:lnTo>
                  <a:lnTo>
                    <a:pt x="0" y="81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51" y="16"/>
                  </a:lnTo>
                  <a:lnTo>
                    <a:pt x="51" y="0"/>
                  </a:lnTo>
                  <a:lnTo>
                    <a:pt x="86" y="0"/>
                  </a:lnTo>
                  <a:lnTo>
                    <a:pt x="140" y="16"/>
                  </a:lnTo>
                  <a:lnTo>
                    <a:pt x="174" y="16"/>
                  </a:lnTo>
                  <a:lnTo>
                    <a:pt x="174" y="48"/>
                  </a:lnTo>
                  <a:lnTo>
                    <a:pt x="278" y="81"/>
                  </a:lnTo>
                  <a:lnTo>
                    <a:pt x="295" y="64"/>
                  </a:lnTo>
                  <a:lnTo>
                    <a:pt x="295" y="33"/>
                  </a:lnTo>
                  <a:lnTo>
                    <a:pt x="349" y="0"/>
                  </a:lnTo>
                  <a:lnTo>
                    <a:pt x="384" y="16"/>
                  </a:lnTo>
                  <a:lnTo>
                    <a:pt x="384" y="33"/>
                  </a:lnTo>
                  <a:lnTo>
                    <a:pt x="435" y="33"/>
                  </a:lnTo>
                  <a:lnTo>
                    <a:pt x="418" y="96"/>
                  </a:lnTo>
                  <a:lnTo>
                    <a:pt x="435" y="129"/>
                  </a:lnTo>
                  <a:lnTo>
                    <a:pt x="435" y="304"/>
                  </a:lnTo>
                  <a:lnTo>
                    <a:pt x="435" y="352"/>
                  </a:lnTo>
                  <a:lnTo>
                    <a:pt x="418" y="369"/>
                  </a:lnTo>
                  <a:lnTo>
                    <a:pt x="401" y="384"/>
                  </a:lnTo>
                  <a:lnTo>
                    <a:pt x="192" y="273"/>
                  </a:lnTo>
                  <a:lnTo>
                    <a:pt x="157" y="288"/>
                  </a:lnTo>
                  <a:lnTo>
                    <a:pt x="140" y="273"/>
                  </a:lnTo>
                  <a:lnTo>
                    <a:pt x="69" y="27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0" name="Freeform 282">
              <a:extLst>
                <a:ext uri="{FF2B5EF4-FFF2-40B4-BE49-F238E27FC236}">
                  <a16:creationId xmlns:a16="http://schemas.microsoft.com/office/drawing/2014/main" id="{B02860B6-FF40-4D47-BDE6-CE70D16B9FE0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246687" y="3971926"/>
              <a:ext cx="246063" cy="227013"/>
            </a:xfrm>
            <a:custGeom>
              <a:avLst/>
              <a:gdLst>
                <a:gd name="T0" fmla="*/ 60922 w 311"/>
                <a:gd name="T1" fmla="*/ 49659 h 288"/>
                <a:gd name="T2" fmla="*/ 60922 w 311"/>
                <a:gd name="T3" fmla="*/ 49659 h 288"/>
                <a:gd name="T4" fmla="*/ 50637 w 311"/>
                <a:gd name="T5" fmla="*/ 55965 h 288"/>
                <a:gd name="T6" fmla="*/ 47472 w 311"/>
                <a:gd name="T7" fmla="*/ 52812 h 288"/>
                <a:gd name="T8" fmla="*/ 3165 w 311"/>
                <a:gd name="T9" fmla="*/ 52812 h 288"/>
                <a:gd name="T10" fmla="*/ 3165 w 311"/>
                <a:gd name="T11" fmla="*/ 18918 h 288"/>
                <a:gd name="T12" fmla="*/ 0 w 311"/>
                <a:gd name="T13" fmla="*/ 11824 h 288"/>
                <a:gd name="T14" fmla="*/ 3165 w 311"/>
                <a:gd name="T15" fmla="*/ 0 h 288"/>
                <a:gd name="T16" fmla="*/ 3165 w 311"/>
                <a:gd name="T17" fmla="*/ 2365 h 288"/>
                <a:gd name="T18" fmla="*/ 13450 w 311"/>
                <a:gd name="T19" fmla="*/ 2365 h 288"/>
                <a:gd name="T20" fmla="*/ 23736 w 311"/>
                <a:gd name="T21" fmla="*/ 5518 h 288"/>
                <a:gd name="T22" fmla="*/ 37186 w 311"/>
                <a:gd name="T23" fmla="*/ 2365 h 288"/>
                <a:gd name="T24" fmla="*/ 40351 w 311"/>
                <a:gd name="T25" fmla="*/ 2365 h 288"/>
                <a:gd name="T26" fmla="*/ 40351 w 311"/>
                <a:gd name="T27" fmla="*/ 5518 h 288"/>
                <a:gd name="T28" fmla="*/ 44307 w 311"/>
                <a:gd name="T29" fmla="*/ 2365 h 288"/>
                <a:gd name="T30" fmla="*/ 44307 w 311"/>
                <a:gd name="T31" fmla="*/ 5518 h 288"/>
                <a:gd name="T32" fmla="*/ 50637 w 311"/>
                <a:gd name="T33" fmla="*/ 2365 h 288"/>
                <a:gd name="T34" fmla="*/ 54593 w 311"/>
                <a:gd name="T35" fmla="*/ 14977 h 288"/>
                <a:gd name="T36" fmla="*/ 50637 w 311"/>
                <a:gd name="T37" fmla="*/ 24435 h 288"/>
                <a:gd name="T38" fmla="*/ 47472 w 311"/>
                <a:gd name="T39" fmla="*/ 18918 h 288"/>
                <a:gd name="T40" fmla="*/ 44307 w 311"/>
                <a:gd name="T41" fmla="*/ 9459 h 288"/>
                <a:gd name="T42" fmla="*/ 44307 w 311"/>
                <a:gd name="T43" fmla="*/ 11824 h 288"/>
                <a:gd name="T44" fmla="*/ 44307 w 311"/>
                <a:gd name="T45" fmla="*/ 14977 h 288"/>
                <a:gd name="T46" fmla="*/ 60922 w 311"/>
                <a:gd name="T47" fmla="*/ 49659 h 2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1"/>
                <a:gd name="T73" fmla="*/ 0 h 288"/>
                <a:gd name="T74" fmla="*/ 311 w 311"/>
                <a:gd name="T75" fmla="*/ 288 h 2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1" h="288">
                  <a:moveTo>
                    <a:pt x="311" y="255"/>
                  </a:moveTo>
                  <a:lnTo>
                    <a:pt x="311" y="255"/>
                  </a:lnTo>
                  <a:lnTo>
                    <a:pt x="259" y="288"/>
                  </a:lnTo>
                  <a:lnTo>
                    <a:pt x="242" y="271"/>
                  </a:lnTo>
                  <a:lnTo>
                    <a:pt x="17" y="27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69" y="15"/>
                  </a:lnTo>
                  <a:lnTo>
                    <a:pt x="121" y="31"/>
                  </a:lnTo>
                  <a:lnTo>
                    <a:pt x="190" y="15"/>
                  </a:lnTo>
                  <a:lnTo>
                    <a:pt x="207" y="15"/>
                  </a:lnTo>
                  <a:lnTo>
                    <a:pt x="207" y="31"/>
                  </a:lnTo>
                  <a:lnTo>
                    <a:pt x="225" y="15"/>
                  </a:lnTo>
                  <a:lnTo>
                    <a:pt x="225" y="31"/>
                  </a:lnTo>
                  <a:lnTo>
                    <a:pt x="259" y="15"/>
                  </a:lnTo>
                  <a:lnTo>
                    <a:pt x="277" y="79"/>
                  </a:lnTo>
                  <a:lnTo>
                    <a:pt x="259" y="127"/>
                  </a:lnTo>
                  <a:lnTo>
                    <a:pt x="242" y="96"/>
                  </a:lnTo>
                  <a:lnTo>
                    <a:pt x="225" y="48"/>
                  </a:lnTo>
                  <a:lnTo>
                    <a:pt x="225" y="63"/>
                  </a:lnTo>
                  <a:lnTo>
                    <a:pt x="225" y="79"/>
                  </a:lnTo>
                  <a:lnTo>
                    <a:pt x="311" y="25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1" name="Freeform 283">
              <a:extLst>
                <a:ext uri="{FF2B5EF4-FFF2-40B4-BE49-F238E27FC236}">
                  <a16:creationId xmlns:a16="http://schemas.microsoft.com/office/drawing/2014/main" id="{5B88C667-35B7-4313-8B90-D1772638F876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602287" y="4402138"/>
              <a:ext cx="220663" cy="266700"/>
            </a:xfrm>
            <a:custGeom>
              <a:avLst/>
              <a:gdLst>
                <a:gd name="T0" fmla="*/ 6327 w 279"/>
                <a:gd name="T1" fmla="*/ 40481 h 336"/>
                <a:gd name="T2" fmla="*/ 6327 w 279"/>
                <a:gd name="T3" fmla="*/ 40481 h 336"/>
                <a:gd name="T4" fmla="*/ 0 w 279"/>
                <a:gd name="T5" fmla="*/ 47625 h 336"/>
                <a:gd name="T6" fmla="*/ 0 w 279"/>
                <a:gd name="T7" fmla="*/ 64294 h 336"/>
                <a:gd name="T8" fmla="*/ 3164 w 279"/>
                <a:gd name="T9" fmla="*/ 66675 h 336"/>
                <a:gd name="T10" fmla="*/ 13445 w 279"/>
                <a:gd name="T11" fmla="*/ 57150 h 336"/>
                <a:gd name="T12" fmla="*/ 27682 w 279"/>
                <a:gd name="T13" fmla="*/ 47625 h 336"/>
                <a:gd name="T14" fmla="*/ 37964 w 279"/>
                <a:gd name="T15" fmla="*/ 38100 h 336"/>
                <a:gd name="T16" fmla="*/ 44291 w 279"/>
                <a:gd name="T17" fmla="*/ 31750 h 336"/>
                <a:gd name="T18" fmla="*/ 54573 w 279"/>
                <a:gd name="T19" fmla="*/ 7144 h 336"/>
                <a:gd name="T20" fmla="*/ 54573 w 279"/>
                <a:gd name="T21" fmla="*/ 0 h 336"/>
                <a:gd name="T22" fmla="*/ 51409 w 279"/>
                <a:gd name="T23" fmla="*/ 0 h 336"/>
                <a:gd name="T24" fmla="*/ 44291 w 279"/>
                <a:gd name="T25" fmla="*/ 2381 h 336"/>
                <a:gd name="T26" fmla="*/ 20564 w 279"/>
                <a:gd name="T27" fmla="*/ 9525 h 336"/>
                <a:gd name="T28" fmla="*/ 16609 w 279"/>
                <a:gd name="T29" fmla="*/ 7144 h 336"/>
                <a:gd name="T30" fmla="*/ 13445 w 279"/>
                <a:gd name="T31" fmla="*/ 2381 h 336"/>
                <a:gd name="T32" fmla="*/ 10282 w 279"/>
                <a:gd name="T33" fmla="*/ 7144 h 336"/>
                <a:gd name="T34" fmla="*/ 10282 w 279"/>
                <a:gd name="T35" fmla="*/ 9525 h 336"/>
                <a:gd name="T36" fmla="*/ 16609 w 279"/>
                <a:gd name="T37" fmla="*/ 16669 h 336"/>
                <a:gd name="T38" fmla="*/ 34009 w 279"/>
                <a:gd name="T39" fmla="*/ 19050 h 336"/>
                <a:gd name="T40" fmla="*/ 37964 w 279"/>
                <a:gd name="T41" fmla="*/ 19050 h 336"/>
                <a:gd name="T42" fmla="*/ 23727 w 279"/>
                <a:gd name="T43" fmla="*/ 34925 h 336"/>
                <a:gd name="T44" fmla="*/ 13445 w 279"/>
                <a:gd name="T45" fmla="*/ 34925 h 336"/>
                <a:gd name="T46" fmla="*/ 6327 w 279"/>
                <a:gd name="T47" fmla="*/ 40481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9"/>
                <a:gd name="T73" fmla="*/ 0 h 336"/>
                <a:gd name="T74" fmla="*/ 279 w 279"/>
                <a:gd name="T75" fmla="*/ 336 h 3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9" h="336">
                  <a:moveTo>
                    <a:pt x="35" y="207"/>
                  </a:moveTo>
                  <a:lnTo>
                    <a:pt x="35" y="207"/>
                  </a:lnTo>
                  <a:lnTo>
                    <a:pt x="0" y="240"/>
                  </a:lnTo>
                  <a:lnTo>
                    <a:pt x="0" y="321"/>
                  </a:lnTo>
                  <a:lnTo>
                    <a:pt x="18" y="336"/>
                  </a:lnTo>
                  <a:lnTo>
                    <a:pt x="69" y="288"/>
                  </a:lnTo>
                  <a:lnTo>
                    <a:pt x="141" y="240"/>
                  </a:lnTo>
                  <a:lnTo>
                    <a:pt x="192" y="192"/>
                  </a:lnTo>
                  <a:lnTo>
                    <a:pt x="227" y="159"/>
                  </a:lnTo>
                  <a:lnTo>
                    <a:pt x="279" y="33"/>
                  </a:lnTo>
                  <a:lnTo>
                    <a:pt x="279" y="0"/>
                  </a:lnTo>
                  <a:lnTo>
                    <a:pt x="261" y="0"/>
                  </a:lnTo>
                  <a:lnTo>
                    <a:pt x="227" y="15"/>
                  </a:lnTo>
                  <a:lnTo>
                    <a:pt x="104" y="48"/>
                  </a:lnTo>
                  <a:lnTo>
                    <a:pt x="87" y="33"/>
                  </a:lnTo>
                  <a:lnTo>
                    <a:pt x="69" y="15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87" y="81"/>
                  </a:lnTo>
                  <a:lnTo>
                    <a:pt x="175" y="96"/>
                  </a:lnTo>
                  <a:lnTo>
                    <a:pt x="192" y="96"/>
                  </a:lnTo>
                  <a:lnTo>
                    <a:pt x="121" y="177"/>
                  </a:lnTo>
                  <a:lnTo>
                    <a:pt x="69" y="177"/>
                  </a:lnTo>
                  <a:lnTo>
                    <a:pt x="35" y="20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2" name="Freeform 284">
              <a:extLst>
                <a:ext uri="{FF2B5EF4-FFF2-40B4-BE49-F238E27FC236}">
                  <a16:creationId xmlns:a16="http://schemas.microsoft.com/office/drawing/2014/main" id="{55205859-4180-4E36-880D-BA96FDC08591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5024437" y="4414838"/>
              <a:ext cx="288925" cy="165100"/>
            </a:xfrm>
            <a:custGeom>
              <a:avLst/>
              <a:gdLst>
                <a:gd name="T0" fmla="*/ 44572 w 363"/>
                <a:gd name="T1" fmla="*/ 0 h 210"/>
                <a:gd name="T2" fmla="*/ 44572 w 363"/>
                <a:gd name="T3" fmla="*/ 0 h 210"/>
                <a:gd name="T4" fmla="*/ 51736 w 363"/>
                <a:gd name="T5" fmla="*/ 6290 h 210"/>
                <a:gd name="T6" fmla="*/ 51736 w 363"/>
                <a:gd name="T7" fmla="*/ 12579 h 210"/>
                <a:gd name="T8" fmla="*/ 58899 w 363"/>
                <a:gd name="T9" fmla="*/ 15724 h 210"/>
                <a:gd name="T10" fmla="*/ 72430 w 363"/>
                <a:gd name="T11" fmla="*/ 31448 h 210"/>
                <a:gd name="T12" fmla="*/ 48552 w 363"/>
                <a:gd name="T13" fmla="*/ 31448 h 210"/>
                <a:gd name="T14" fmla="*/ 44572 w 363"/>
                <a:gd name="T15" fmla="*/ 34592 h 210"/>
                <a:gd name="T16" fmla="*/ 35021 w 363"/>
                <a:gd name="T17" fmla="*/ 34592 h 210"/>
                <a:gd name="T18" fmla="*/ 31042 w 363"/>
                <a:gd name="T19" fmla="*/ 31448 h 210"/>
                <a:gd name="T20" fmla="*/ 27858 w 363"/>
                <a:gd name="T21" fmla="*/ 31448 h 210"/>
                <a:gd name="T22" fmla="*/ 24674 w 363"/>
                <a:gd name="T23" fmla="*/ 36951 h 210"/>
                <a:gd name="T24" fmla="*/ 14327 w 363"/>
                <a:gd name="T25" fmla="*/ 40882 h 210"/>
                <a:gd name="T26" fmla="*/ 10347 w 363"/>
                <a:gd name="T27" fmla="*/ 40882 h 210"/>
                <a:gd name="T28" fmla="*/ 3980 w 363"/>
                <a:gd name="T29" fmla="*/ 31448 h 210"/>
                <a:gd name="T30" fmla="*/ 0 w 363"/>
                <a:gd name="T31" fmla="*/ 27517 h 210"/>
                <a:gd name="T32" fmla="*/ 7163 w 363"/>
                <a:gd name="T33" fmla="*/ 18869 h 210"/>
                <a:gd name="T34" fmla="*/ 24674 w 363"/>
                <a:gd name="T35" fmla="*/ 15724 h 210"/>
                <a:gd name="T36" fmla="*/ 27858 w 363"/>
                <a:gd name="T37" fmla="*/ 12579 h 210"/>
                <a:gd name="T38" fmla="*/ 24674 w 363"/>
                <a:gd name="T39" fmla="*/ 12579 h 210"/>
                <a:gd name="T40" fmla="*/ 35021 w 363"/>
                <a:gd name="T41" fmla="*/ 9434 h 210"/>
                <a:gd name="T42" fmla="*/ 41389 w 363"/>
                <a:gd name="T43" fmla="*/ 3145 h 210"/>
                <a:gd name="T44" fmla="*/ 44572 w 363"/>
                <a:gd name="T45" fmla="*/ 0 h 2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3"/>
                <a:gd name="T70" fmla="*/ 0 h 210"/>
                <a:gd name="T71" fmla="*/ 363 w 363"/>
                <a:gd name="T72" fmla="*/ 210 h 21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3" h="210">
                  <a:moveTo>
                    <a:pt x="224" y="0"/>
                  </a:moveTo>
                  <a:lnTo>
                    <a:pt x="224" y="0"/>
                  </a:lnTo>
                  <a:lnTo>
                    <a:pt x="259" y="33"/>
                  </a:lnTo>
                  <a:lnTo>
                    <a:pt x="259" y="66"/>
                  </a:lnTo>
                  <a:lnTo>
                    <a:pt x="294" y="81"/>
                  </a:lnTo>
                  <a:lnTo>
                    <a:pt x="363" y="162"/>
                  </a:lnTo>
                  <a:lnTo>
                    <a:pt x="242" y="162"/>
                  </a:lnTo>
                  <a:lnTo>
                    <a:pt x="224" y="177"/>
                  </a:lnTo>
                  <a:lnTo>
                    <a:pt x="173" y="177"/>
                  </a:lnTo>
                  <a:lnTo>
                    <a:pt x="155" y="162"/>
                  </a:lnTo>
                  <a:lnTo>
                    <a:pt x="138" y="162"/>
                  </a:lnTo>
                  <a:lnTo>
                    <a:pt x="121" y="192"/>
                  </a:lnTo>
                  <a:lnTo>
                    <a:pt x="69" y="210"/>
                  </a:lnTo>
                  <a:lnTo>
                    <a:pt x="52" y="210"/>
                  </a:lnTo>
                  <a:lnTo>
                    <a:pt x="17" y="162"/>
                  </a:lnTo>
                  <a:lnTo>
                    <a:pt x="0" y="144"/>
                  </a:lnTo>
                  <a:lnTo>
                    <a:pt x="34" y="96"/>
                  </a:lnTo>
                  <a:lnTo>
                    <a:pt x="121" y="81"/>
                  </a:lnTo>
                  <a:lnTo>
                    <a:pt x="138" y="66"/>
                  </a:lnTo>
                  <a:lnTo>
                    <a:pt x="121" y="66"/>
                  </a:lnTo>
                  <a:lnTo>
                    <a:pt x="173" y="48"/>
                  </a:lnTo>
                  <a:lnTo>
                    <a:pt x="207" y="18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3" name="Freeform 285">
              <a:extLst>
                <a:ext uri="{FF2B5EF4-FFF2-40B4-BE49-F238E27FC236}">
                  <a16:creationId xmlns:a16="http://schemas.microsoft.com/office/drawing/2014/main" id="{AD0BC464-8881-4370-8474-F38F3E32AE2E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013324" y="4160838"/>
              <a:ext cx="217488" cy="330200"/>
            </a:xfrm>
            <a:custGeom>
              <a:avLst/>
              <a:gdLst>
                <a:gd name="T0" fmla="*/ 6327 w 275"/>
                <a:gd name="T1" fmla="*/ 3190 h 414"/>
                <a:gd name="T2" fmla="*/ 6327 w 275"/>
                <a:gd name="T3" fmla="*/ 3190 h 414"/>
                <a:gd name="T4" fmla="*/ 6327 w 275"/>
                <a:gd name="T5" fmla="*/ 9571 h 414"/>
                <a:gd name="T6" fmla="*/ 13445 w 275"/>
                <a:gd name="T7" fmla="*/ 15952 h 414"/>
                <a:gd name="T8" fmla="*/ 10281 w 275"/>
                <a:gd name="T9" fmla="*/ 35094 h 414"/>
                <a:gd name="T10" fmla="*/ 0 w 275"/>
                <a:gd name="T11" fmla="*/ 48653 h 414"/>
                <a:gd name="T12" fmla="*/ 0 w 275"/>
                <a:gd name="T13" fmla="*/ 51045 h 414"/>
                <a:gd name="T14" fmla="*/ 3163 w 275"/>
                <a:gd name="T15" fmla="*/ 54236 h 414"/>
                <a:gd name="T16" fmla="*/ 3163 w 275"/>
                <a:gd name="T17" fmla="*/ 58224 h 414"/>
                <a:gd name="T18" fmla="*/ 10281 w 275"/>
                <a:gd name="T19" fmla="*/ 70187 h 414"/>
                <a:gd name="T20" fmla="*/ 3163 w 275"/>
                <a:gd name="T21" fmla="*/ 70187 h 414"/>
                <a:gd name="T22" fmla="*/ 3163 w 275"/>
                <a:gd name="T23" fmla="*/ 73378 h 414"/>
                <a:gd name="T24" fmla="*/ 6327 w 275"/>
                <a:gd name="T25" fmla="*/ 77366 h 414"/>
                <a:gd name="T26" fmla="*/ 10281 w 275"/>
                <a:gd name="T27" fmla="*/ 83746 h 414"/>
                <a:gd name="T28" fmla="*/ 26889 w 275"/>
                <a:gd name="T29" fmla="*/ 79758 h 414"/>
                <a:gd name="T30" fmla="*/ 30053 w 275"/>
                <a:gd name="T31" fmla="*/ 77366 h 414"/>
                <a:gd name="T32" fmla="*/ 26889 w 275"/>
                <a:gd name="T33" fmla="*/ 77366 h 414"/>
                <a:gd name="T34" fmla="*/ 37171 w 275"/>
                <a:gd name="T35" fmla="*/ 73378 h 414"/>
                <a:gd name="T36" fmla="*/ 43498 w 275"/>
                <a:gd name="T37" fmla="*/ 67795 h 414"/>
                <a:gd name="T38" fmla="*/ 47452 w 275"/>
                <a:gd name="T39" fmla="*/ 63807 h 414"/>
                <a:gd name="T40" fmla="*/ 50615 w 275"/>
                <a:gd name="T41" fmla="*/ 63807 h 414"/>
                <a:gd name="T42" fmla="*/ 43498 w 275"/>
                <a:gd name="T43" fmla="*/ 54236 h 414"/>
                <a:gd name="T44" fmla="*/ 50615 w 275"/>
                <a:gd name="T45" fmla="*/ 41474 h 414"/>
                <a:gd name="T46" fmla="*/ 53779 w 275"/>
                <a:gd name="T47" fmla="*/ 41474 h 414"/>
                <a:gd name="T48" fmla="*/ 53779 w 275"/>
                <a:gd name="T49" fmla="*/ 38284 h 414"/>
                <a:gd name="T50" fmla="*/ 53779 w 275"/>
                <a:gd name="T51" fmla="*/ 22332 h 414"/>
                <a:gd name="T52" fmla="*/ 13445 w 275"/>
                <a:gd name="T53" fmla="*/ 0 h 414"/>
                <a:gd name="T54" fmla="*/ 6327 w 275"/>
                <a:gd name="T55" fmla="*/ 3190 h 4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5"/>
                <a:gd name="T85" fmla="*/ 0 h 414"/>
                <a:gd name="T86" fmla="*/ 275 w 275"/>
                <a:gd name="T87" fmla="*/ 414 h 4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5" h="414">
                  <a:moveTo>
                    <a:pt x="35" y="15"/>
                  </a:moveTo>
                  <a:lnTo>
                    <a:pt x="35" y="15"/>
                  </a:lnTo>
                  <a:lnTo>
                    <a:pt x="35" y="48"/>
                  </a:lnTo>
                  <a:lnTo>
                    <a:pt x="70" y="79"/>
                  </a:lnTo>
                  <a:lnTo>
                    <a:pt x="52" y="175"/>
                  </a:lnTo>
                  <a:lnTo>
                    <a:pt x="0" y="240"/>
                  </a:lnTo>
                  <a:lnTo>
                    <a:pt x="0" y="255"/>
                  </a:lnTo>
                  <a:lnTo>
                    <a:pt x="18" y="270"/>
                  </a:lnTo>
                  <a:lnTo>
                    <a:pt x="18" y="288"/>
                  </a:lnTo>
                  <a:lnTo>
                    <a:pt x="52" y="351"/>
                  </a:lnTo>
                  <a:lnTo>
                    <a:pt x="18" y="351"/>
                  </a:lnTo>
                  <a:lnTo>
                    <a:pt x="18" y="366"/>
                  </a:lnTo>
                  <a:lnTo>
                    <a:pt x="35" y="384"/>
                  </a:lnTo>
                  <a:lnTo>
                    <a:pt x="52" y="414"/>
                  </a:lnTo>
                  <a:lnTo>
                    <a:pt x="137" y="399"/>
                  </a:lnTo>
                  <a:lnTo>
                    <a:pt x="154" y="384"/>
                  </a:lnTo>
                  <a:lnTo>
                    <a:pt x="137" y="384"/>
                  </a:lnTo>
                  <a:lnTo>
                    <a:pt x="189" y="366"/>
                  </a:lnTo>
                  <a:lnTo>
                    <a:pt x="223" y="336"/>
                  </a:lnTo>
                  <a:lnTo>
                    <a:pt x="240" y="318"/>
                  </a:lnTo>
                  <a:lnTo>
                    <a:pt x="258" y="318"/>
                  </a:lnTo>
                  <a:lnTo>
                    <a:pt x="223" y="270"/>
                  </a:lnTo>
                  <a:lnTo>
                    <a:pt x="258" y="207"/>
                  </a:lnTo>
                  <a:lnTo>
                    <a:pt x="275" y="207"/>
                  </a:lnTo>
                  <a:lnTo>
                    <a:pt x="275" y="192"/>
                  </a:lnTo>
                  <a:lnTo>
                    <a:pt x="275" y="111"/>
                  </a:lnTo>
                  <a:lnTo>
                    <a:pt x="70" y="0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4" name="Freeform 286">
              <a:extLst>
                <a:ext uri="{FF2B5EF4-FFF2-40B4-BE49-F238E27FC236}">
                  <a16:creationId xmlns:a16="http://schemas.microsoft.com/office/drawing/2014/main" id="{3B41220F-2F9E-4EA7-B9E9-CD24B0CA7876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508624" y="4275138"/>
              <a:ext cx="134938" cy="114300"/>
            </a:xfrm>
            <a:custGeom>
              <a:avLst/>
              <a:gdLst>
                <a:gd name="T0" fmla="*/ 29986 w 171"/>
                <a:gd name="T1" fmla="*/ 28575 h 144"/>
                <a:gd name="T2" fmla="*/ 29986 w 171"/>
                <a:gd name="T3" fmla="*/ 28575 h 144"/>
                <a:gd name="T4" fmla="*/ 33143 w 171"/>
                <a:gd name="T5" fmla="*/ 28575 h 144"/>
                <a:gd name="T6" fmla="*/ 22884 w 171"/>
                <a:gd name="T7" fmla="*/ 19050 h 144"/>
                <a:gd name="T8" fmla="*/ 16571 w 171"/>
                <a:gd name="T9" fmla="*/ 11906 h 144"/>
                <a:gd name="T10" fmla="*/ 10258 w 171"/>
                <a:gd name="T11" fmla="*/ 0 h 144"/>
                <a:gd name="T12" fmla="*/ 10258 w 171"/>
                <a:gd name="T13" fmla="*/ 2381 h 144"/>
                <a:gd name="T14" fmla="*/ 3156 w 171"/>
                <a:gd name="T15" fmla="*/ 5556 h 144"/>
                <a:gd name="T16" fmla="*/ 0 w 171"/>
                <a:gd name="T17" fmla="*/ 19050 h 144"/>
                <a:gd name="T18" fmla="*/ 3156 w 171"/>
                <a:gd name="T19" fmla="*/ 19050 h 144"/>
                <a:gd name="T20" fmla="*/ 6313 w 171"/>
                <a:gd name="T21" fmla="*/ 21431 h 144"/>
                <a:gd name="T22" fmla="*/ 6313 w 171"/>
                <a:gd name="T23" fmla="*/ 15081 h 144"/>
                <a:gd name="T24" fmla="*/ 10258 w 171"/>
                <a:gd name="T25" fmla="*/ 19050 h 144"/>
                <a:gd name="T26" fmla="*/ 19728 w 171"/>
                <a:gd name="T27" fmla="*/ 19050 h 144"/>
                <a:gd name="T28" fmla="*/ 29986 w 171"/>
                <a:gd name="T29" fmla="*/ 28575 h 1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144"/>
                <a:gd name="T47" fmla="*/ 171 w 171"/>
                <a:gd name="T48" fmla="*/ 144 h 1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144">
                  <a:moveTo>
                    <a:pt x="154" y="144"/>
                  </a:moveTo>
                  <a:lnTo>
                    <a:pt x="154" y="144"/>
                  </a:lnTo>
                  <a:lnTo>
                    <a:pt x="171" y="144"/>
                  </a:lnTo>
                  <a:lnTo>
                    <a:pt x="119" y="96"/>
                  </a:lnTo>
                  <a:lnTo>
                    <a:pt x="85" y="63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18" y="31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35" y="111"/>
                  </a:lnTo>
                  <a:lnTo>
                    <a:pt x="35" y="78"/>
                  </a:lnTo>
                  <a:lnTo>
                    <a:pt x="52" y="96"/>
                  </a:lnTo>
                  <a:lnTo>
                    <a:pt x="102" y="96"/>
                  </a:lnTo>
                  <a:lnTo>
                    <a:pt x="154" y="14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5" name="Freeform 287b">
              <a:extLst>
                <a:ext uri="{FF2B5EF4-FFF2-40B4-BE49-F238E27FC236}">
                  <a16:creationId xmlns:a16="http://schemas.microsoft.com/office/drawing/2014/main" id="{AD9E0EBF-2C81-4FBD-81EE-28C8E6EA5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814" y="4394683"/>
              <a:ext cx="263729" cy="172554"/>
            </a:xfrm>
            <a:custGeom>
              <a:avLst/>
              <a:gdLst/>
              <a:ahLst/>
              <a:cxnLst>
                <a:cxn ang="0">
                  <a:pos x="248" y="137"/>
                </a:cxn>
                <a:cxn ang="0">
                  <a:pos x="220" y="99"/>
                </a:cxn>
                <a:cxn ang="0">
                  <a:pos x="205" y="85"/>
                </a:cxn>
                <a:cxn ang="0">
                  <a:pos x="217" y="75"/>
                </a:cxn>
                <a:cxn ang="0">
                  <a:pos x="220" y="73"/>
                </a:cxn>
                <a:cxn ang="0">
                  <a:pos x="231" y="40"/>
                </a:cxn>
                <a:cxn ang="0">
                  <a:pos x="213" y="28"/>
                </a:cxn>
                <a:cxn ang="0">
                  <a:pos x="213" y="0"/>
                </a:cxn>
                <a:cxn ang="0">
                  <a:pos x="187" y="4"/>
                </a:cxn>
                <a:cxn ang="0">
                  <a:pos x="189" y="35"/>
                </a:cxn>
                <a:cxn ang="0">
                  <a:pos x="170" y="56"/>
                </a:cxn>
                <a:cxn ang="0">
                  <a:pos x="139" y="44"/>
                </a:cxn>
                <a:cxn ang="0">
                  <a:pos x="99" y="61"/>
                </a:cxn>
                <a:cxn ang="0">
                  <a:pos x="73" y="59"/>
                </a:cxn>
                <a:cxn ang="0">
                  <a:pos x="52" y="37"/>
                </a:cxn>
                <a:cxn ang="0">
                  <a:pos x="38" y="40"/>
                </a:cxn>
                <a:cxn ang="0">
                  <a:pos x="28" y="54"/>
                </a:cxn>
                <a:cxn ang="0">
                  <a:pos x="12" y="73"/>
                </a:cxn>
                <a:cxn ang="0">
                  <a:pos x="0" y="73"/>
                </a:cxn>
                <a:cxn ang="0">
                  <a:pos x="5" y="75"/>
                </a:cxn>
                <a:cxn ang="0">
                  <a:pos x="28" y="85"/>
                </a:cxn>
                <a:cxn ang="0">
                  <a:pos x="83" y="151"/>
                </a:cxn>
                <a:cxn ang="0">
                  <a:pos x="97" y="163"/>
                </a:cxn>
                <a:cxn ang="0">
                  <a:pos x="137" y="163"/>
                </a:cxn>
                <a:cxn ang="0">
                  <a:pos x="151" y="174"/>
                </a:cxn>
                <a:cxn ang="0">
                  <a:pos x="179" y="174"/>
                </a:cxn>
                <a:cxn ang="0">
                  <a:pos x="220" y="163"/>
                </a:cxn>
                <a:cxn ang="0">
                  <a:pos x="234" y="163"/>
                </a:cxn>
                <a:cxn ang="0">
                  <a:pos x="262" y="163"/>
                </a:cxn>
                <a:cxn ang="0">
                  <a:pos x="262" y="137"/>
                </a:cxn>
                <a:cxn ang="0">
                  <a:pos x="248" y="137"/>
                </a:cxn>
              </a:cxnLst>
              <a:rect l="0" t="0" r="r" b="b"/>
              <a:pathLst>
                <a:path w="262" h="174">
                  <a:moveTo>
                    <a:pt x="248" y="137"/>
                  </a:moveTo>
                  <a:lnTo>
                    <a:pt x="220" y="99"/>
                  </a:lnTo>
                  <a:lnTo>
                    <a:pt x="205" y="85"/>
                  </a:lnTo>
                  <a:lnTo>
                    <a:pt x="217" y="75"/>
                  </a:lnTo>
                  <a:lnTo>
                    <a:pt x="220" y="73"/>
                  </a:lnTo>
                  <a:lnTo>
                    <a:pt x="231" y="40"/>
                  </a:lnTo>
                  <a:lnTo>
                    <a:pt x="213" y="28"/>
                  </a:lnTo>
                  <a:lnTo>
                    <a:pt x="213" y="0"/>
                  </a:lnTo>
                  <a:lnTo>
                    <a:pt x="187" y="4"/>
                  </a:lnTo>
                  <a:lnTo>
                    <a:pt x="189" y="35"/>
                  </a:lnTo>
                  <a:lnTo>
                    <a:pt x="170" y="56"/>
                  </a:lnTo>
                  <a:lnTo>
                    <a:pt x="139" y="44"/>
                  </a:lnTo>
                  <a:lnTo>
                    <a:pt x="99" y="61"/>
                  </a:lnTo>
                  <a:lnTo>
                    <a:pt x="73" y="59"/>
                  </a:lnTo>
                  <a:lnTo>
                    <a:pt x="52" y="37"/>
                  </a:lnTo>
                  <a:lnTo>
                    <a:pt x="38" y="40"/>
                  </a:lnTo>
                  <a:lnTo>
                    <a:pt x="28" y="54"/>
                  </a:lnTo>
                  <a:lnTo>
                    <a:pt x="12" y="73"/>
                  </a:lnTo>
                  <a:lnTo>
                    <a:pt x="0" y="73"/>
                  </a:lnTo>
                  <a:lnTo>
                    <a:pt x="5" y="75"/>
                  </a:lnTo>
                  <a:lnTo>
                    <a:pt x="28" y="85"/>
                  </a:lnTo>
                  <a:lnTo>
                    <a:pt x="83" y="151"/>
                  </a:lnTo>
                  <a:lnTo>
                    <a:pt x="97" y="163"/>
                  </a:lnTo>
                  <a:lnTo>
                    <a:pt x="137" y="163"/>
                  </a:lnTo>
                  <a:lnTo>
                    <a:pt x="151" y="174"/>
                  </a:lnTo>
                  <a:lnTo>
                    <a:pt x="179" y="174"/>
                  </a:lnTo>
                  <a:lnTo>
                    <a:pt x="220" y="163"/>
                  </a:lnTo>
                  <a:lnTo>
                    <a:pt x="234" y="163"/>
                  </a:lnTo>
                  <a:lnTo>
                    <a:pt x="262" y="163"/>
                  </a:lnTo>
                  <a:lnTo>
                    <a:pt x="262" y="137"/>
                  </a:lnTo>
                  <a:lnTo>
                    <a:pt x="248" y="13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6" name="Freeform 287a">
              <a:extLst>
                <a:ext uri="{FF2B5EF4-FFF2-40B4-BE49-F238E27FC236}">
                  <a16:creationId xmlns:a16="http://schemas.microsoft.com/office/drawing/2014/main" id="{EF8164AB-1BA0-4394-927B-BD54F0C70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7" y="4173537"/>
              <a:ext cx="360363" cy="293540"/>
            </a:xfrm>
            <a:custGeom>
              <a:avLst/>
              <a:gdLst/>
              <a:ahLst/>
              <a:cxnLst>
                <a:cxn ang="0">
                  <a:pos x="347" y="90"/>
                </a:cxn>
                <a:cxn ang="0">
                  <a:pos x="332" y="15"/>
                </a:cxn>
                <a:cxn ang="0">
                  <a:pos x="304" y="0"/>
                </a:cxn>
                <a:cxn ang="0">
                  <a:pos x="262" y="26"/>
                </a:cxn>
                <a:cxn ang="0">
                  <a:pos x="247" y="15"/>
                </a:cxn>
                <a:cxn ang="0">
                  <a:pos x="70" y="15"/>
                </a:cxn>
                <a:cxn ang="0">
                  <a:pos x="70" y="52"/>
                </a:cxn>
                <a:cxn ang="0">
                  <a:pos x="56" y="67"/>
                </a:cxn>
                <a:cxn ang="0">
                  <a:pos x="42" y="78"/>
                </a:cxn>
                <a:cxn ang="0">
                  <a:pos x="42" y="142"/>
                </a:cxn>
                <a:cxn ang="0">
                  <a:pos x="42" y="154"/>
                </a:cxn>
                <a:cxn ang="0">
                  <a:pos x="28" y="154"/>
                </a:cxn>
                <a:cxn ang="0">
                  <a:pos x="0" y="206"/>
                </a:cxn>
                <a:cxn ang="0">
                  <a:pos x="28" y="244"/>
                </a:cxn>
                <a:cxn ang="0">
                  <a:pos x="14" y="244"/>
                </a:cxn>
                <a:cxn ang="0">
                  <a:pos x="42" y="270"/>
                </a:cxn>
                <a:cxn ang="0">
                  <a:pos x="42" y="296"/>
                </a:cxn>
                <a:cxn ang="0">
                  <a:pos x="42" y="296"/>
                </a:cxn>
                <a:cxn ang="0">
                  <a:pos x="54" y="296"/>
                </a:cxn>
                <a:cxn ang="0">
                  <a:pos x="70" y="277"/>
                </a:cxn>
                <a:cxn ang="0">
                  <a:pos x="80" y="263"/>
                </a:cxn>
                <a:cxn ang="0">
                  <a:pos x="94" y="260"/>
                </a:cxn>
                <a:cxn ang="0">
                  <a:pos x="115" y="282"/>
                </a:cxn>
                <a:cxn ang="0">
                  <a:pos x="141" y="284"/>
                </a:cxn>
                <a:cxn ang="0">
                  <a:pos x="181" y="267"/>
                </a:cxn>
                <a:cxn ang="0">
                  <a:pos x="212" y="279"/>
                </a:cxn>
                <a:cxn ang="0">
                  <a:pos x="231" y="258"/>
                </a:cxn>
                <a:cxn ang="0">
                  <a:pos x="229" y="227"/>
                </a:cxn>
                <a:cxn ang="0">
                  <a:pos x="255" y="223"/>
                </a:cxn>
                <a:cxn ang="0">
                  <a:pos x="255" y="251"/>
                </a:cxn>
                <a:cxn ang="0">
                  <a:pos x="273" y="263"/>
                </a:cxn>
                <a:cxn ang="0">
                  <a:pos x="276" y="258"/>
                </a:cxn>
                <a:cxn ang="0">
                  <a:pos x="318" y="206"/>
                </a:cxn>
                <a:cxn ang="0">
                  <a:pos x="318" y="182"/>
                </a:cxn>
                <a:cxn ang="0">
                  <a:pos x="332" y="130"/>
                </a:cxn>
                <a:cxn ang="0">
                  <a:pos x="358" y="116"/>
                </a:cxn>
                <a:cxn ang="0">
                  <a:pos x="358" y="104"/>
                </a:cxn>
                <a:cxn ang="0">
                  <a:pos x="347" y="90"/>
                </a:cxn>
              </a:cxnLst>
              <a:rect l="0" t="0" r="r" b="b"/>
              <a:pathLst>
                <a:path w="358" h="296">
                  <a:moveTo>
                    <a:pt x="347" y="90"/>
                  </a:moveTo>
                  <a:lnTo>
                    <a:pt x="332" y="15"/>
                  </a:lnTo>
                  <a:lnTo>
                    <a:pt x="304" y="0"/>
                  </a:lnTo>
                  <a:lnTo>
                    <a:pt x="262" y="26"/>
                  </a:lnTo>
                  <a:lnTo>
                    <a:pt x="247" y="15"/>
                  </a:lnTo>
                  <a:lnTo>
                    <a:pt x="70" y="15"/>
                  </a:lnTo>
                  <a:lnTo>
                    <a:pt x="70" y="52"/>
                  </a:lnTo>
                  <a:lnTo>
                    <a:pt x="56" y="67"/>
                  </a:lnTo>
                  <a:lnTo>
                    <a:pt x="42" y="78"/>
                  </a:lnTo>
                  <a:lnTo>
                    <a:pt x="42" y="142"/>
                  </a:lnTo>
                  <a:lnTo>
                    <a:pt x="42" y="154"/>
                  </a:lnTo>
                  <a:lnTo>
                    <a:pt x="28" y="154"/>
                  </a:lnTo>
                  <a:lnTo>
                    <a:pt x="0" y="206"/>
                  </a:lnTo>
                  <a:lnTo>
                    <a:pt x="28" y="244"/>
                  </a:lnTo>
                  <a:lnTo>
                    <a:pt x="14" y="244"/>
                  </a:lnTo>
                  <a:lnTo>
                    <a:pt x="42" y="270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54" y="296"/>
                  </a:lnTo>
                  <a:lnTo>
                    <a:pt x="70" y="277"/>
                  </a:lnTo>
                  <a:lnTo>
                    <a:pt x="80" y="263"/>
                  </a:lnTo>
                  <a:lnTo>
                    <a:pt x="94" y="260"/>
                  </a:lnTo>
                  <a:lnTo>
                    <a:pt x="115" y="282"/>
                  </a:lnTo>
                  <a:lnTo>
                    <a:pt x="141" y="284"/>
                  </a:lnTo>
                  <a:lnTo>
                    <a:pt x="181" y="267"/>
                  </a:lnTo>
                  <a:lnTo>
                    <a:pt x="212" y="279"/>
                  </a:lnTo>
                  <a:lnTo>
                    <a:pt x="231" y="258"/>
                  </a:lnTo>
                  <a:lnTo>
                    <a:pt x="229" y="227"/>
                  </a:lnTo>
                  <a:lnTo>
                    <a:pt x="255" y="223"/>
                  </a:lnTo>
                  <a:lnTo>
                    <a:pt x="255" y="251"/>
                  </a:lnTo>
                  <a:lnTo>
                    <a:pt x="273" y="263"/>
                  </a:lnTo>
                  <a:lnTo>
                    <a:pt x="276" y="258"/>
                  </a:lnTo>
                  <a:lnTo>
                    <a:pt x="318" y="206"/>
                  </a:lnTo>
                  <a:lnTo>
                    <a:pt x="318" y="182"/>
                  </a:lnTo>
                  <a:lnTo>
                    <a:pt x="332" y="130"/>
                  </a:lnTo>
                  <a:lnTo>
                    <a:pt x="358" y="116"/>
                  </a:lnTo>
                  <a:lnTo>
                    <a:pt x="358" y="104"/>
                  </a:lnTo>
                  <a:lnTo>
                    <a:pt x="347" y="9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7" name="Freeform 288">
              <a:extLst>
                <a:ext uri="{FF2B5EF4-FFF2-40B4-BE49-F238E27FC236}">
                  <a16:creationId xmlns:a16="http://schemas.microsoft.com/office/drawing/2014/main" id="{DEECD1EB-3740-4A42-B157-C3F873D37FF9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900613" y="4376738"/>
              <a:ext cx="166688" cy="228600"/>
            </a:xfrm>
            <a:custGeom>
              <a:avLst/>
              <a:gdLst>
                <a:gd name="T0" fmla="*/ 0 w 212"/>
                <a:gd name="T1" fmla="*/ 41275 h 288"/>
                <a:gd name="T2" fmla="*/ 0 w 212"/>
                <a:gd name="T3" fmla="*/ 41275 h 288"/>
                <a:gd name="T4" fmla="*/ 6290 w 212"/>
                <a:gd name="T5" fmla="*/ 31750 h 288"/>
                <a:gd name="T6" fmla="*/ 10221 w 212"/>
                <a:gd name="T7" fmla="*/ 31750 h 288"/>
                <a:gd name="T8" fmla="*/ 13366 w 212"/>
                <a:gd name="T9" fmla="*/ 34925 h 288"/>
                <a:gd name="T10" fmla="*/ 17298 w 212"/>
                <a:gd name="T11" fmla="*/ 31750 h 288"/>
                <a:gd name="T12" fmla="*/ 23588 w 212"/>
                <a:gd name="T13" fmla="*/ 22225 h 288"/>
                <a:gd name="T14" fmla="*/ 27519 w 212"/>
                <a:gd name="T15" fmla="*/ 13494 h 288"/>
                <a:gd name="T16" fmla="*/ 30664 w 212"/>
                <a:gd name="T17" fmla="*/ 7144 h 288"/>
                <a:gd name="T18" fmla="*/ 30664 w 212"/>
                <a:gd name="T19" fmla="*/ 3969 h 288"/>
                <a:gd name="T20" fmla="*/ 30664 w 212"/>
                <a:gd name="T21" fmla="*/ 0 h 288"/>
                <a:gd name="T22" fmla="*/ 30664 w 212"/>
                <a:gd name="T23" fmla="*/ 3969 h 288"/>
                <a:gd name="T24" fmla="*/ 37741 w 212"/>
                <a:gd name="T25" fmla="*/ 15875 h 288"/>
                <a:gd name="T26" fmla="*/ 30664 w 212"/>
                <a:gd name="T27" fmla="*/ 15875 h 288"/>
                <a:gd name="T28" fmla="*/ 30664 w 212"/>
                <a:gd name="T29" fmla="*/ 19050 h 288"/>
                <a:gd name="T30" fmla="*/ 34596 w 212"/>
                <a:gd name="T31" fmla="*/ 22225 h 288"/>
                <a:gd name="T32" fmla="*/ 37741 w 212"/>
                <a:gd name="T33" fmla="*/ 28575 h 288"/>
                <a:gd name="T34" fmla="*/ 30664 w 212"/>
                <a:gd name="T35" fmla="*/ 38100 h 288"/>
                <a:gd name="T36" fmla="*/ 34596 w 212"/>
                <a:gd name="T37" fmla="*/ 41275 h 288"/>
                <a:gd name="T38" fmla="*/ 40886 w 212"/>
                <a:gd name="T39" fmla="*/ 51594 h 288"/>
                <a:gd name="T40" fmla="*/ 40886 w 212"/>
                <a:gd name="T41" fmla="*/ 57150 h 288"/>
                <a:gd name="T42" fmla="*/ 23588 w 212"/>
                <a:gd name="T43" fmla="*/ 54769 h 288"/>
                <a:gd name="T44" fmla="*/ 13366 w 212"/>
                <a:gd name="T45" fmla="*/ 54769 h 288"/>
                <a:gd name="T46" fmla="*/ 6290 w 212"/>
                <a:gd name="T47" fmla="*/ 54769 h 288"/>
                <a:gd name="T48" fmla="*/ 6290 w 212"/>
                <a:gd name="T49" fmla="*/ 51594 h 288"/>
                <a:gd name="T50" fmla="*/ 3145 w 212"/>
                <a:gd name="T51" fmla="*/ 47625 h 288"/>
                <a:gd name="T52" fmla="*/ 0 w 212"/>
                <a:gd name="T53" fmla="*/ 44450 h 288"/>
                <a:gd name="T54" fmla="*/ 0 w 212"/>
                <a:gd name="T55" fmla="*/ 41275 h 2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2"/>
                <a:gd name="T85" fmla="*/ 0 h 288"/>
                <a:gd name="T86" fmla="*/ 212 w 212"/>
                <a:gd name="T87" fmla="*/ 288 h 2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2" h="288">
                  <a:moveTo>
                    <a:pt x="0" y="210"/>
                  </a:moveTo>
                  <a:lnTo>
                    <a:pt x="0" y="210"/>
                  </a:lnTo>
                  <a:lnTo>
                    <a:pt x="35" y="162"/>
                  </a:lnTo>
                  <a:lnTo>
                    <a:pt x="52" y="162"/>
                  </a:lnTo>
                  <a:lnTo>
                    <a:pt x="69" y="177"/>
                  </a:lnTo>
                  <a:lnTo>
                    <a:pt x="89" y="162"/>
                  </a:lnTo>
                  <a:lnTo>
                    <a:pt x="123" y="114"/>
                  </a:lnTo>
                  <a:lnTo>
                    <a:pt x="141" y="66"/>
                  </a:lnTo>
                  <a:lnTo>
                    <a:pt x="158" y="33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94" y="81"/>
                  </a:lnTo>
                  <a:lnTo>
                    <a:pt x="158" y="81"/>
                  </a:lnTo>
                  <a:lnTo>
                    <a:pt x="158" y="96"/>
                  </a:lnTo>
                  <a:lnTo>
                    <a:pt x="177" y="114"/>
                  </a:lnTo>
                  <a:lnTo>
                    <a:pt x="194" y="144"/>
                  </a:lnTo>
                  <a:lnTo>
                    <a:pt x="158" y="192"/>
                  </a:lnTo>
                  <a:lnTo>
                    <a:pt x="177" y="210"/>
                  </a:lnTo>
                  <a:lnTo>
                    <a:pt x="212" y="258"/>
                  </a:lnTo>
                  <a:lnTo>
                    <a:pt x="212" y="288"/>
                  </a:lnTo>
                  <a:lnTo>
                    <a:pt x="123" y="273"/>
                  </a:lnTo>
                  <a:lnTo>
                    <a:pt x="69" y="273"/>
                  </a:lnTo>
                  <a:lnTo>
                    <a:pt x="35" y="273"/>
                  </a:lnTo>
                  <a:lnTo>
                    <a:pt x="35" y="258"/>
                  </a:lnTo>
                  <a:lnTo>
                    <a:pt x="18" y="240"/>
                  </a:lnTo>
                  <a:lnTo>
                    <a:pt x="0" y="225"/>
                  </a:lnTo>
                  <a:lnTo>
                    <a:pt x="0" y="21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8" name="Freeform 289">
              <a:extLst>
                <a:ext uri="{FF2B5EF4-FFF2-40B4-BE49-F238E27FC236}">
                  <a16:creationId xmlns:a16="http://schemas.microsoft.com/office/drawing/2014/main" id="{0064668A-591C-4666-A633-E6AFAFA679E4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913313" y="4592638"/>
              <a:ext cx="42863" cy="25400"/>
            </a:xfrm>
            <a:custGeom>
              <a:avLst/>
              <a:gdLst>
                <a:gd name="T0" fmla="*/ 11322 w 53"/>
                <a:gd name="T1" fmla="*/ 0 h 33"/>
                <a:gd name="T2" fmla="*/ 11322 w 53"/>
                <a:gd name="T3" fmla="*/ 0 h 33"/>
                <a:gd name="T4" fmla="*/ 11322 w 53"/>
                <a:gd name="T5" fmla="*/ 6158 h 33"/>
                <a:gd name="T6" fmla="*/ 4044 w 53"/>
                <a:gd name="T7" fmla="*/ 6158 h 33"/>
                <a:gd name="T8" fmla="*/ 0 w 53"/>
                <a:gd name="T9" fmla="*/ 6158 h 33"/>
                <a:gd name="T10" fmla="*/ 4044 w 53"/>
                <a:gd name="T11" fmla="*/ 0 h 33"/>
                <a:gd name="T12" fmla="*/ 11322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3" y="0"/>
                  </a:moveTo>
                  <a:lnTo>
                    <a:pt x="53" y="0"/>
                  </a:lnTo>
                  <a:lnTo>
                    <a:pt x="53" y="33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53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29" name="Freeform 290">
              <a:extLst>
                <a:ext uri="{FF2B5EF4-FFF2-40B4-BE49-F238E27FC236}">
                  <a16:creationId xmlns:a16="http://schemas.microsoft.com/office/drawing/2014/main" id="{D3A3783E-9669-4B42-8215-F8F6C82994B0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438774" y="4338638"/>
              <a:ext cx="315913" cy="228600"/>
            </a:xfrm>
            <a:custGeom>
              <a:avLst/>
              <a:gdLst>
                <a:gd name="T0" fmla="*/ 48297 w 399"/>
                <a:gd name="T1" fmla="*/ 13494 h 288"/>
                <a:gd name="T2" fmla="*/ 48297 w 399"/>
                <a:gd name="T3" fmla="*/ 13494 h 288"/>
                <a:gd name="T4" fmla="*/ 48297 w 399"/>
                <a:gd name="T5" fmla="*/ 19050 h 288"/>
                <a:gd name="T6" fmla="*/ 48297 w 399"/>
                <a:gd name="T7" fmla="*/ 22225 h 288"/>
                <a:gd name="T8" fmla="*/ 51465 w 399"/>
                <a:gd name="T9" fmla="*/ 22225 h 288"/>
                <a:gd name="T10" fmla="*/ 51465 w 399"/>
                <a:gd name="T11" fmla="*/ 26194 h 288"/>
                <a:gd name="T12" fmla="*/ 58590 w 399"/>
                <a:gd name="T13" fmla="*/ 31750 h 288"/>
                <a:gd name="T14" fmla="*/ 75217 w 399"/>
                <a:gd name="T15" fmla="*/ 34925 h 288"/>
                <a:gd name="T16" fmla="*/ 78384 w 399"/>
                <a:gd name="T17" fmla="*/ 34925 h 288"/>
                <a:gd name="T18" fmla="*/ 64924 w 399"/>
                <a:gd name="T19" fmla="*/ 51594 h 288"/>
                <a:gd name="T20" fmla="*/ 54632 w 399"/>
                <a:gd name="T21" fmla="*/ 51594 h 288"/>
                <a:gd name="T22" fmla="*/ 48297 w 399"/>
                <a:gd name="T23" fmla="*/ 57150 h 288"/>
                <a:gd name="T24" fmla="*/ 40380 w 399"/>
                <a:gd name="T25" fmla="*/ 54769 h 288"/>
                <a:gd name="T26" fmla="*/ 30879 w 399"/>
                <a:gd name="T27" fmla="*/ 57150 h 288"/>
                <a:gd name="T28" fmla="*/ 13460 w 399"/>
                <a:gd name="T29" fmla="*/ 54769 h 288"/>
                <a:gd name="T30" fmla="*/ 13460 w 399"/>
                <a:gd name="T31" fmla="*/ 47625 h 288"/>
                <a:gd name="T32" fmla="*/ 10293 w 399"/>
                <a:gd name="T33" fmla="*/ 47625 h 288"/>
                <a:gd name="T34" fmla="*/ 3167 w 399"/>
                <a:gd name="T35" fmla="*/ 38100 h 288"/>
                <a:gd name="T36" fmla="*/ 0 w 399"/>
                <a:gd name="T37" fmla="*/ 34925 h 288"/>
                <a:gd name="T38" fmla="*/ 3167 w 399"/>
                <a:gd name="T39" fmla="*/ 31750 h 288"/>
                <a:gd name="T40" fmla="*/ 6334 w 399"/>
                <a:gd name="T41" fmla="*/ 22225 h 288"/>
                <a:gd name="T42" fmla="*/ 16627 w 399"/>
                <a:gd name="T43" fmla="*/ 9525 h 288"/>
                <a:gd name="T44" fmla="*/ 16627 w 399"/>
                <a:gd name="T45" fmla="*/ 3969 h 288"/>
                <a:gd name="T46" fmla="*/ 20586 w 399"/>
                <a:gd name="T47" fmla="*/ 3969 h 288"/>
                <a:gd name="T48" fmla="*/ 23753 w 399"/>
                <a:gd name="T49" fmla="*/ 7144 h 288"/>
                <a:gd name="T50" fmla="*/ 23753 w 399"/>
                <a:gd name="T51" fmla="*/ 0 h 288"/>
                <a:gd name="T52" fmla="*/ 26920 w 399"/>
                <a:gd name="T53" fmla="*/ 3969 h 288"/>
                <a:gd name="T54" fmla="*/ 37213 w 399"/>
                <a:gd name="T55" fmla="*/ 3969 h 288"/>
                <a:gd name="T56" fmla="*/ 48297 w 399"/>
                <a:gd name="T57" fmla="*/ 13494 h 28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9"/>
                <a:gd name="T88" fmla="*/ 0 h 288"/>
                <a:gd name="T89" fmla="*/ 399 w 399"/>
                <a:gd name="T90" fmla="*/ 288 h 28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9" h="288">
                  <a:moveTo>
                    <a:pt x="244" y="66"/>
                  </a:moveTo>
                  <a:lnTo>
                    <a:pt x="244" y="66"/>
                  </a:lnTo>
                  <a:lnTo>
                    <a:pt x="244" y="96"/>
                  </a:lnTo>
                  <a:lnTo>
                    <a:pt x="244" y="114"/>
                  </a:lnTo>
                  <a:lnTo>
                    <a:pt x="261" y="114"/>
                  </a:lnTo>
                  <a:lnTo>
                    <a:pt x="261" y="129"/>
                  </a:lnTo>
                  <a:lnTo>
                    <a:pt x="296" y="162"/>
                  </a:lnTo>
                  <a:lnTo>
                    <a:pt x="382" y="177"/>
                  </a:lnTo>
                  <a:lnTo>
                    <a:pt x="399" y="177"/>
                  </a:lnTo>
                  <a:lnTo>
                    <a:pt x="330" y="258"/>
                  </a:lnTo>
                  <a:lnTo>
                    <a:pt x="278" y="258"/>
                  </a:lnTo>
                  <a:lnTo>
                    <a:pt x="244" y="288"/>
                  </a:lnTo>
                  <a:lnTo>
                    <a:pt x="207" y="273"/>
                  </a:lnTo>
                  <a:lnTo>
                    <a:pt x="156" y="288"/>
                  </a:lnTo>
                  <a:lnTo>
                    <a:pt x="69" y="273"/>
                  </a:lnTo>
                  <a:lnTo>
                    <a:pt x="69" y="240"/>
                  </a:lnTo>
                  <a:lnTo>
                    <a:pt x="52" y="240"/>
                  </a:lnTo>
                  <a:lnTo>
                    <a:pt x="17" y="192"/>
                  </a:lnTo>
                  <a:lnTo>
                    <a:pt x="0" y="177"/>
                  </a:lnTo>
                  <a:lnTo>
                    <a:pt x="17" y="162"/>
                  </a:lnTo>
                  <a:lnTo>
                    <a:pt x="35" y="114"/>
                  </a:lnTo>
                  <a:lnTo>
                    <a:pt x="86" y="48"/>
                  </a:lnTo>
                  <a:lnTo>
                    <a:pt x="86" y="18"/>
                  </a:lnTo>
                  <a:lnTo>
                    <a:pt x="104" y="18"/>
                  </a:lnTo>
                  <a:lnTo>
                    <a:pt x="121" y="33"/>
                  </a:lnTo>
                  <a:lnTo>
                    <a:pt x="121" y="0"/>
                  </a:lnTo>
                  <a:lnTo>
                    <a:pt x="138" y="18"/>
                  </a:lnTo>
                  <a:lnTo>
                    <a:pt x="190" y="18"/>
                  </a:lnTo>
                  <a:lnTo>
                    <a:pt x="244" y="6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0" name="Freeform 291">
              <a:extLst>
                <a:ext uri="{FF2B5EF4-FFF2-40B4-BE49-F238E27FC236}">
                  <a16:creationId xmlns:a16="http://schemas.microsoft.com/office/drawing/2014/main" id="{B11A9901-EA70-49F4-8B37-6B7750D117B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630862" y="4389438"/>
              <a:ext cx="28575" cy="38100"/>
            </a:xfrm>
            <a:custGeom>
              <a:avLst/>
              <a:gdLst>
                <a:gd name="T0" fmla="*/ 4202 w 34"/>
                <a:gd name="T1" fmla="*/ 9525 h 48"/>
                <a:gd name="T2" fmla="*/ 4202 w 34"/>
                <a:gd name="T3" fmla="*/ 9525 h 48"/>
                <a:gd name="T4" fmla="*/ 0 w 34"/>
                <a:gd name="T5" fmla="*/ 9525 h 48"/>
                <a:gd name="T6" fmla="*/ 0 w 34"/>
                <a:gd name="T7" fmla="*/ 5556 h 48"/>
                <a:gd name="T8" fmla="*/ 0 w 34"/>
                <a:gd name="T9" fmla="*/ 0 h 48"/>
                <a:gd name="T10" fmla="*/ 4202 w 34"/>
                <a:gd name="T11" fmla="*/ 0 h 48"/>
                <a:gd name="T12" fmla="*/ 8404 w 34"/>
                <a:gd name="T13" fmla="*/ 0 h 48"/>
                <a:gd name="T14" fmla="*/ 8404 w 34"/>
                <a:gd name="T15" fmla="*/ 2381 h 48"/>
                <a:gd name="T16" fmla="*/ 4202 w 34"/>
                <a:gd name="T17" fmla="*/ 2381 h 48"/>
                <a:gd name="T18" fmla="*/ 8404 w 34"/>
                <a:gd name="T19" fmla="*/ 5556 h 48"/>
                <a:gd name="T20" fmla="*/ 4202 w 34"/>
                <a:gd name="T21" fmla="*/ 9525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48"/>
                <a:gd name="T35" fmla="*/ 34 w 3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34" y="30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1" name="Freeform 292">
              <a:extLst>
                <a:ext uri="{FF2B5EF4-FFF2-40B4-BE49-F238E27FC236}">
                  <a16:creationId xmlns:a16="http://schemas.microsoft.com/office/drawing/2014/main" id="{B9B63EA3-50A0-4D37-90E2-D90C480A9D52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451474" y="4554538"/>
              <a:ext cx="179388" cy="177800"/>
            </a:xfrm>
            <a:custGeom>
              <a:avLst/>
              <a:gdLst>
                <a:gd name="T0" fmla="*/ 44254 w 227"/>
                <a:gd name="T1" fmla="*/ 3175 h 224"/>
                <a:gd name="T2" fmla="*/ 44254 w 227"/>
                <a:gd name="T3" fmla="*/ 3175 h 224"/>
                <a:gd name="T4" fmla="*/ 37932 w 227"/>
                <a:gd name="T5" fmla="*/ 0 h 224"/>
                <a:gd name="T6" fmla="*/ 27659 w 227"/>
                <a:gd name="T7" fmla="*/ 3175 h 224"/>
                <a:gd name="T8" fmla="*/ 10273 w 227"/>
                <a:gd name="T9" fmla="*/ 0 h 224"/>
                <a:gd name="T10" fmla="*/ 3161 w 227"/>
                <a:gd name="T11" fmla="*/ 0 h 224"/>
                <a:gd name="T12" fmla="*/ 0 w 227"/>
                <a:gd name="T13" fmla="*/ 0 h 224"/>
                <a:gd name="T14" fmla="*/ 3161 w 227"/>
                <a:gd name="T15" fmla="*/ 3175 h 224"/>
                <a:gd name="T16" fmla="*/ 6322 w 227"/>
                <a:gd name="T17" fmla="*/ 11906 h 224"/>
                <a:gd name="T18" fmla="*/ 0 w 227"/>
                <a:gd name="T19" fmla="*/ 22225 h 224"/>
                <a:gd name="T20" fmla="*/ 0 w 227"/>
                <a:gd name="T21" fmla="*/ 26194 h 224"/>
                <a:gd name="T22" fmla="*/ 3161 w 227"/>
                <a:gd name="T23" fmla="*/ 26194 h 224"/>
                <a:gd name="T24" fmla="*/ 20547 w 227"/>
                <a:gd name="T25" fmla="*/ 34925 h 224"/>
                <a:gd name="T26" fmla="*/ 20547 w 227"/>
                <a:gd name="T27" fmla="*/ 41275 h 224"/>
                <a:gd name="T28" fmla="*/ 30820 w 227"/>
                <a:gd name="T29" fmla="*/ 44450 h 224"/>
                <a:gd name="T30" fmla="*/ 33981 w 227"/>
                <a:gd name="T31" fmla="*/ 34925 h 224"/>
                <a:gd name="T32" fmla="*/ 37932 w 227"/>
                <a:gd name="T33" fmla="*/ 34925 h 224"/>
                <a:gd name="T34" fmla="*/ 41093 w 227"/>
                <a:gd name="T35" fmla="*/ 28575 h 224"/>
                <a:gd name="T36" fmla="*/ 37932 w 227"/>
                <a:gd name="T37" fmla="*/ 26194 h 224"/>
                <a:gd name="T38" fmla="*/ 37932 w 227"/>
                <a:gd name="T39" fmla="*/ 9525 h 224"/>
                <a:gd name="T40" fmla="*/ 44254 w 227"/>
                <a:gd name="T41" fmla="*/ 3175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24"/>
                <a:gd name="T65" fmla="*/ 227 w 227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24">
                  <a:moveTo>
                    <a:pt x="227" y="15"/>
                  </a:moveTo>
                  <a:lnTo>
                    <a:pt x="227" y="15"/>
                  </a:lnTo>
                  <a:lnTo>
                    <a:pt x="192" y="0"/>
                  </a:lnTo>
                  <a:lnTo>
                    <a:pt x="140" y="15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15"/>
                  </a:lnTo>
                  <a:lnTo>
                    <a:pt x="35" y="63"/>
                  </a:lnTo>
                  <a:lnTo>
                    <a:pt x="0" y="111"/>
                  </a:lnTo>
                  <a:lnTo>
                    <a:pt x="0" y="129"/>
                  </a:lnTo>
                  <a:lnTo>
                    <a:pt x="18" y="129"/>
                  </a:lnTo>
                  <a:lnTo>
                    <a:pt x="104" y="176"/>
                  </a:lnTo>
                  <a:lnTo>
                    <a:pt x="104" y="207"/>
                  </a:lnTo>
                  <a:lnTo>
                    <a:pt x="158" y="224"/>
                  </a:lnTo>
                  <a:lnTo>
                    <a:pt x="175" y="176"/>
                  </a:lnTo>
                  <a:lnTo>
                    <a:pt x="192" y="176"/>
                  </a:lnTo>
                  <a:lnTo>
                    <a:pt x="210" y="144"/>
                  </a:lnTo>
                  <a:lnTo>
                    <a:pt x="192" y="129"/>
                  </a:lnTo>
                  <a:lnTo>
                    <a:pt x="192" y="48"/>
                  </a:lnTo>
                  <a:lnTo>
                    <a:pt x="227" y="1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2" name="Freeform 293">
              <a:extLst>
                <a:ext uri="{FF2B5EF4-FFF2-40B4-BE49-F238E27FC236}">
                  <a16:creationId xmlns:a16="http://schemas.microsoft.com/office/drawing/2014/main" id="{B83C836C-F1B2-4DAC-A69F-CA639FA34C60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356224" y="4554538"/>
              <a:ext cx="122238" cy="114300"/>
            </a:xfrm>
            <a:custGeom>
              <a:avLst/>
              <a:gdLst>
                <a:gd name="T0" fmla="*/ 23507 w 156"/>
                <a:gd name="T1" fmla="*/ 0 h 144"/>
                <a:gd name="T2" fmla="*/ 23507 w 156"/>
                <a:gd name="T3" fmla="*/ 0 h 144"/>
                <a:gd name="T4" fmla="*/ 26642 w 156"/>
                <a:gd name="T5" fmla="*/ 2381 h 144"/>
                <a:gd name="T6" fmla="*/ 29776 w 156"/>
                <a:gd name="T7" fmla="*/ 11906 h 144"/>
                <a:gd name="T8" fmla="*/ 23507 w 156"/>
                <a:gd name="T9" fmla="*/ 21431 h 144"/>
                <a:gd name="T10" fmla="*/ 23507 w 156"/>
                <a:gd name="T11" fmla="*/ 26194 h 144"/>
                <a:gd name="T12" fmla="*/ 13321 w 156"/>
                <a:gd name="T13" fmla="*/ 26194 h 144"/>
                <a:gd name="T14" fmla="*/ 6269 w 156"/>
                <a:gd name="T15" fmla="*/ 26194 h 144"/>
                <a:gd name="T16" fmla="*/ 0 w 156"/>
                <a:gd name="T17" fmla="*/ 28575 h 144"/>
                <a:gd name="T18" fmla="*/ 3134 w 156"/>
                <a:gd name="T19" fmla="*/ 19050 h 144"/>
                <a:gd name="T20" fmla="*/ 6269 w 156"/>
                <a:gd name="T21" fmla="*/ 15875 h 144"/>
                <a:gd name="T22" fmla="*/ 10186 w 156"/>
                <a:gd name="T23" fmla="*/ 9525 h 144"/>
                <a:gd name="T24" fmla="*/ 6269 w 156"/>
                <a:gd name="T25" fmla="*/ 9525 h 144"/>
                <a:gd name="T26" fmla="*/ 6269 w 156"/>
                <a:gd name="T27" fmla="*/ 2381 h 144"/>
                <a:gd name="T28" fmla="*/ 13321 w 156"/>
                <a:gd name="T29" fmla="*/ 2381 h 144"/>
                <a:gd name="T30" fmla="*/ 23507 w 156"/>
                <a:gd name="T31" fmla="*/ 0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6"/>
                <a:gd name="T49" fmla="*/ 0 h 144"/>
                <a:gd name="T50" fmla="*/ 156 w 156"/>
                <a:gd name="T51" fmla="*/ 144 h 1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6" h="144">
                  <a:moveTo>
                    <a:pt x="121" y="0"/>
                  </a:moveTo>
                  <a:lnTo>
                    <a:pt x="121" y="0"/>
                  </a:lnTo>
                  <a:lnTo>
                    <a:pt x="139" y="15"/>
                  </a:lnTo>
                  <a:lnTo>
                    <a:pt x="156" y="63"/>
                  </a:lnTo>
                  <a:lnTo>
                    <a:pt x="121" y="111"/>
                  </a:lnTo>
                  <a:lnTo>
                    <a:pt x="121" y="129"/>
                  </a:lnTo>
                  <a:lnTo>
                    <a:pt x="69" y="129"/>
                  </a:lnTo>
                  <a:lnTo>
                    <a:pt x="35" y="129"/>
                  </a:lnTo>
                  <a:lnTo>
                    <a:pt x="0" y="144"/>
                  </a:lnTo>
                  <a:lnTo>
                    <a:pt x="18" y="96"/>
                  </a:lnTo>
                  <a:lnTo>
                    <a:pt x="35" y="81"/>
                  </a:lnTo>
                  <a:lnTo>
                    <a:pt x="52" y="48"/>
                  </a:lnTo>
                  <a:lnTo>
                    <a:pt x="35" y="48"/>
                  </a:lnTo>
                  <a:lnTo>
                    <a:pt x="35" y="15"/>
                  </a:lnTo>
                  <a:lnTo>
                    <a:pt x="69" y="15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3" name="Freeform 294">
              <a:extLst>
                <a:ext uri="{FF2B5EF4-FFF2-40B4-BE49-F238E27FC236}">
                  <a16:creationId xmlns:a16="http://schemas.microsoft.com/office/drawing/2014/main" id="{3D55E489-1EA3-41AD-B3CF-CE12E88BF5DE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341937" y="4656138"/>
              <a:ext cx="41275" cy="38100"/>
            </a:xfrm>
            <a:custGeom>
              <a:avLst/>
              <a:gdLst>
                <a:gd name="T0" fmla="*/ 10319 w 52"/>
                <a:gd name="T1" fmla="*/ 9728 h 47"/>
                <a:gd name="T2" fmla="*/ 10319 w 52"/>
                <a:gd name="T3" fmla="*/ 9728 h 47"/>
                <a:gd name="T4" fmla="*/ 3969 w 52"/>
                <a:gd name="T5" fmla="*/ 9728 h 47"/>
                <a:gd name="T6" fmla="*/ 0 w 52"/>
                <a:gd name="T7" fmla="*/ 9728 h 47"/>
                <a:gd name="T8" fmla="*/ 3969 w 52"/>
                <a:gd name="T9" fmla="*/ 3243 h 47"/>
                <a:gd name="T10" fmla="*/ 10319 w 52"/>
                <a:gd name="T11" fmla="*/ 0 h 47"/>
                <a:gd name="T12" fmla="*/ 10319 w 52"/>
                <a:gd name="T13" fmla="*/ 6485 h 47"/>
                <a:gd name="T14" fmla="*/ 10319 w 52"/>
                <a:gd name="T15" fmla="*/ 9728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47"/>
                <a:gd name="T26" fmla="*/ 52 w 52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47">
                  <a:moveTo>
                    <a:pt x="52" y="47"/>
                  </a:moveTo>
                  <a:lnTo>
                    <a:pt x="52" y="47"/>
                  </a:lnTo>
                  <a:lnTo>
                    <a:pt x="17" y="47"/>
                  </a:lnTo>
                  <a:lnTo>
                    <a:pt x="0" y="47"/>
                  </a:lnTo>
                  <a:lnTo>
                    <a:pt x="17" y="15"/>
                  </a:lnTo>
                  <a:lnTo>
                    <a:pt x="52" y="0"/>
                  </a:lnTo>
                  <a:lnTo>
                    <a:pt x="52" y="30"/>
                  </a:lnTo>
                  <a:lnTo>
                    <a:pt x="52" y="4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4" name="Freeform 295">
              <a:extLst>
                <a:ext uri="{FF2B5EF4-FFF2-40B4-BE49-F238E27FC236}">
                  <a16:creationId xmlns:a16="http://schemas.microsoft.com/office/drawing/2014/main" id="{CD3281DD-C130-4844-8AE1-5844F983D9A7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356224" y="4694238"/>
              <a:ext cx="26988" cy="38100"/>
            </a:xfrm>
            <a:custGeom>
              <a:avLst/>
              <a:gdLst>
                <a:gd name="T0" fmla="*/ 6169 w 35"/>
                <a:gd name="T1" fmla="*/ 0 h 48"/>
                <a:gd name="T2" fmla="*/ 6169 w 35"/>
                <a:gd name="T3" fmla="*/ 0 h 48"/>
                <a:gd name="T4" fmla="*/ 6169 w 35"/>
                <a:gd name="T5" fmla="*/ 3175 h 48"/>
                <a:gd name="T6" fmla="*/ 0 w 35"/>
                <a:gd name="T7" fmla="*/ 9525 h 48"/>
                <a:gd name="T8" fmla="*/ 0 w 35"/>
                <a:gd name="T9" fmla="*/ 3175 h 48"/>
                <a:gd name="T10" fmla="*/ 0 w 35"/>
                <a:gd name="T11" fmla="*/ 0 h 48"/>
                <a:gd name="T12" fmla="*/ 6169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35" y="0"/>
                  </a:moveTo>
                  <a:lnTo>
                    <a:pt x="35" y="0"/>
                  </a:lnTo>
                  <a:lnTo>
                    <a:pt x="35" y="16"/>
                  </a:lnTo>
                  <a:lnTo>
                    <a:pt x="0" y="48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5" name="Freeform 296">
              <a:extLst>
                <a:ext uri="{FF2B5EF4-FFF2-40B4-BE49-F238E27FC236}">
                  <a16:creationId xmlns:a16="http://schemas.microsoft.com/office/drawing/2014/main" id="{67BA801A-B02D-4E1F-ABA8-8DD39B4FA49E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432300" y="3883026"/>
              <a:ext cx="261938" cy="190500"/>
            </a:xfrm>
            <a:custGeom>
              <a:avLst/>
              <a:gdLst>
                <a:gd name="T0" fmla="*/ 58738 w 330"/>
                <a:gd name="T1" fmla="*/ 3969 h 240"/>
                <a:gd name="T2" fmla="*/ 58738 w 330"/>
                <a:gd name="T3" fmla="*/ 3969 h 240"/>
                <a:gd name="T4" fmla="*/ 62706 w 330"/>
                <a:gd name="T5" fmla="*/ 3969 h 240"/>
                <a:gd name="T6" fmla="*/ 65881 w 330"/>
                <a:gd name="T7" fmla="*/ 19050 h 240"/>
                <a:gd name="T8" fmla="*/ 52388 w 330"/>
                <a:gd name="T9" fmla="*/ 23019 h 240"/>
                <a:gd name="T10" fmla="*/ 52388 w 330"/>
                <a:gd name="T11" fmla="*/ 25400 h 240"/>
                <a:gd name="T12" fmla="*/ 41275 w 330"/>
                <a:gd name="T13" fmla="*/ 32544 h 240"/>
                <a:gd name="T14" fmla="*/ 27781 w 330"/>
                <a:gd name="T15" fmla="*/ 38100 h 240"/>
                <a:gd name="T16" fmla="*/ 23813 w 330"/>
                <a:gd name="T17" fmla="*/ 42069 h 240"/>
                <a:gd name="T18" fmla="*/ 23813 w 330"/>
                <a:gd name="T19" fmla="*/ 47625 h 240"/>
                <a:gd name="T20" fmla="*/ 0 w 330"/>
                <a:gd name="T21" fmla="*/ 44450 h 240"/>
                <a:gd name="T22" fmla="*/ 7144 w 330"/>
                <a:gd name="T23" fmla="*/ 44450 h 240"/>
                <a:gd name="T24" fmla="*/ 14288 w 330"/>
                <a:gd name="T25" fmla="*/ 38100 h 240"/>
                <a:gd name="T26" fmla="*/ 17463 w 330"/>
                <a:gd name="T27" fmla="*/ 32544 h 240"/>
                <a:gd name="T28" fmla="*/ 17463 w 330"/>
                <a:gd name="T29" fmla="*/ 25400 h 240"/>
                <a:gd name="T30" fmla="*/ 20638 w 330"/>
                <a:gd name="T31" fmla="*/ 19050 h 240"/>
                <a:gd name="T32" fmla="*/ 23813 w 330"/>
                <a:gd name="T33" fmla="*/ 13494 h 240"/>
                <a:gd name="T34" fmla="*/ 34131 w 330"/>
                <a:gd name="T35" fmla="*/ 9525 h 240"/>
                <a:gd name="T36" fmla="*/ 38100 w 330"/>
                <a:gd name="T37" fmla="*/ 0 h 240"/>
                <a:gd name="T38" fmla="*/ 41275 w 330"/>
                <a:gd name="T39" fmla="*/ 0 h 240"/>
                <a:gd name="T40" fmla="*/ 44450 w 330"/>
                <a:gd name="T41" fmla="*/ 3969 h 240"/>
                <a:gd name="T42" fmla="*/ 55563 w 330"/>
                <a:gd name="T43" fmla="*/ 3969 h 240"/>
                <a:gd name="T44" fmla="*/ 58738 w 330"/>
                <a:gd name="T45" fmla="*/ 3969 h 2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30"/>
                <a:gd name="T70" fmla="*/ 0 h 240"/>
                <a:gd name="T71" fmla="*/ 330 w 330"/>
                <a:gd name="T72" fmla="*/ 240 h 2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30" h="240">
                  <a:moveTo>
                    <a:pt x="296" y="17"/>
                  </a:moveTo>
                  <a:lnTo>
                    <a:pt x="296" y="17"/>
                  </a:lnTo>
                  <a:lnTo>
                    <a:pt x="313" y="17"/>
                  </a:lnTo>
                  <a:lnTo>
                    <a:pt x="330" y="96"/>
                  </a:lnTo>
                  <a:lnTo>
                    <a:pt x="261" y="113"/>
                  </a:lnTo>
                  <a:lnTo>
                    <a:pt x="261" y="128"/>
                  </a:lnTo>
                  <a:lnTo>
                    <a:pt x="209" y="161"/>
                  </a:lnTo>
                  <a:lnTo>
                    <a:pt x="140" y="192"/>
                  </a:lnTo>
                  <a:lnTo>
                    <a:pt x="123" y="209"/>
                  </a:lnTo>
                  <a:lnTo>
                    <a:pt x="123" y="240"/>
                  </a:lnTo>
                  <a:lnTo>
                    <a:pt x="0" y="224"/>
                  </a:lnTo>
                  <a:lnTo>
                    <a:pt x="36" y="224"/>
                  </a:lnTo>
                  <a:lnTo>
                    <a:pt x="71" y="192"/>
                  </a:lnTo>
                  <a:lnTo>
                    <a:pt x="88" y="161"/>
                  </a:lnTo>
                  <a:lnTo>
                    <a:pt x="88" y="128"/>
                  </a:lnTo>
                  <a:lnTo>
                    <a:pt x="106" y="96"/>
                  </a:lnTo>
                  <a:lnTo>
                    <a:pt x="123" y="65"/>
                  </a:lnTo>
                  <a:lnTo>
                    <a:pt x="175" y="48"/>
                  </a:lnTo>
                  <a:lnTo>
                    <a:pt x="192" y="0"/>
                  </a:lnTo>
                  <a:lnTo>
                    <a:pt x="209" y="0"/>
                  </a:lnTo>
                  <a:lnTo>
                    <a:pt x="227" y="17"/>
                  </a:lnTo>
                  <a:lnTo>
                    <a:pt x="278" y="17"/>
                  </a:lnTo>
                  <a:lnTo>
                    <a:pt x="296" y="1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6" name="Freeform 297">
              <a:extLst>
                <a:ext uri="{FF2B5EF4-FFF2-40B4-BE49-F238E27FC236}">
                  <a16:creationId xmlns:a16="http://schemas.microsoft.com/office/drawing/2014/main" id="{EDA5AFA6-F9F4-45A9-A462-33AC451F318D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529138" y="3844926"/>
              <a:ext cx="441325" cy="406400"/>
            </a:xfrm>
            <a:custGeom>
              <a:avLst/>
              <a:gdLst>
                <a:gd name="T0" fmla="*/ 34988 w 555"/>
                <a:gd name="T1" fmla="*/ 12700 h 512"/>
                <a:gd name="T2" fmla="*/ 34988 w 555"/>
                <a:gd name="T3" fmla="*/ 12700 h 512"/>
                <a:gd name="T4" fmla="*/ 38169 w 555"/>
                <a:gd name="T5" fmla="*/ 12700 h 512"/>
                <a:gd name="T6" fmla="*/ 42145 w 555"/>
                <a:gd name="T7" fmla="*/ 28575 h 512"/>
                <a:gd name="T8" fmla="*/ 27831 w 555"/>
                <a:gd name="T9" fmla="*/ 31750 h 512"/>
                <a:gd name="T10" fmla="*/ 27831 w 555"/>
                <a:gd name="T11" fmla="*/ 34925 h 512"/>
                <a:gd name="T12" fmla="*/ 17494 w 555"/>
                <a:gd name="T13" fmla="*/ 41275 h 512"/>
                <a:gd name="T14" fmla="*/ 3976 w 555"/>
                <a:gd name="T15" fmla="*/ 47625 h 512"/>
                <a:gd name="T16" fmla="*/ 0 w 555"/>
                <a:gd name="T17" fmla="*/ 50800 h 512"/>
                <a:gd name="T18" fmla="*/ 0 w 555"/>
                <a:gd name="T19" fmla="*/ 57150 h 512"/>
                <a:gd name="T20" fmla="*/ 20675 w 555"/>
                <a:gd name="T21" fmla="*/ 69850 h 512"/>
                <a:gd name="T22" fmla="*/ 52482 w 555"/>
                <a:gd name="T23" fmla="*/ 92075 h 512"/>
                <a:gd name="T24" fmla="*/ 55663 w 555"/>
                <a:gd name="T25" fmla="*/ 95250 h 512"/>
                <a:gd name="T26" fmla="*/ 62819 w 555"/>
                <a:gd name="T27" fmla="*/ 98425 h 512"/>
                <a:gd name="T28" fmla="*/ 66000 w 555"/>
                <a:gd name="T29" fmla="*/ 101600 h 512"/>
                <a:gd name="T30" fmla="*/ 69181 w 555"/>
                <a:gd name="T31" fmla="*/ 101600 h 512"/>
                <a:gd name="T32" fmla="*/ 76337 w 555"/>
                <a:gd name="T33" fmla="*/ 101600 h 512"/>
                <a:gd name="T34" fmla="*/ 110530 w 555"/>
                <a:gd name="T35" fmla="*/ 79375 h 512"/>
                <a:gd name="T36" fmla="*/ 107349 w 555"/>
                <a:gd name="T37" fmla="*/ 73025 h 512"/>
                <a:gd name="T38" fmla="*/ 103373 w 555"/>
                <a:gd name="T39" fmla="*/ 73025 h 512"/>
                <a:gd name="T40" fmla="*/ 97012 w 555"/>
                <a:gd name="T41" fmla="*/ 63500 h 512"/>
                <a:gd name="T42" fmla="*/ 100193 w 555"/>
                <a:gd name="T43" fmla="*/ 60325 h 512"/>
                <a:gd name="T44" fmla="*/ 100193 w 555"/>
                <a:gd name="T45" fmla="*/ 53975 h 512"/>
                <a:gd name="T46" fmla="*/ 100193 w 555"/>
                <a:gd name="T47" fmla="*/ 47625 h 512"/>
                <a:gd name="T48" fmla="*/ 97012 w 555"/>
                <a:gd name="T49" fmla="*/ 44450 h 512"/>
                <a:gd name="T50" fmla="*/ 97012 w 555"/>
                <a:gd name="T51" fmla="*/ 41275 h 512"/>
                <a:gd name="T52" fmla="*/ 97012 w 555"/>
                <a:gd name="T53" fmla="*/ 31750 h 512"/>
                <a:gd name="T54" fmla="*/ 89855 w 555"/>
                <a:gd name="T55" fmla="*/ 28575 h 512"/>
                <a:gd name="T56" fmla="*/ 86675 w 555"/>
                <a:gd name="T57" fmla="*/ 22225 h 512"/>
                <a:gd name="T58" fmla="*/ 93036 w 555"/>
                <a:gd name="T59" fmla="*/ 15875 h 512"/>
                <a:gd name="T60" fmla="*/ 89855 w 555"/>
                <a:gd name="T61" fmla="*/ 3175 h 512"/>
                <a:gd name="T62" fmla="*/ 93036 w 555"/>
                <a:gd name="T63" fmla="*/ 0 h 512"/>
                <a:gd name="T64" fmla="*/ 89855 w 555"/>
                <a:gd name="T65" fmla="*/ 3175 h 512"/>
                <a:gd name="T66" fmla="*/ 79518 w 555"/>
                <a:gd name="T67" fmla="*/ 0 h 512"/>
                <a:gd name="T68" fmla="*/ 76337 w 555"/>
                <a:gd name="T69" fmla="*/ 3175 h 512"/>
                <a:gd name="T70" fmla="*/ 69181 w 555"/>
                <a:gd name="T71" fmla="*/ 0 h 512"/>
                <a:gd name="T72" fmla="*/ 62819 w 555"/>
                <a:gd name="T73" fmla="*/ 3175 h 512"/>
                <a:gd name="T74" fmla="*/ 52482 w 555"/>
                <a:gd name="T75" fmla="*/ 3175 h 512"/>
                <a:gd name="T76" fmla="*/ 34988 w 555"/>
                <a:gd name="T77" fmla="*/ 12700 h 5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5"/>
                <a:gd name="T118" fmla="*/ 0 h 512"/>
                <a:gd name="T119" fmla="*/ 555 w 555"/>
                <a:gd name="T120" fmla="*/ 512 h 5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5" h="512">
                  <a:moveTo>
                    <a:pt x="173" y="65"/>
                  </a:moveTo>
                  <a:lnTo>
                    <a:pt x="173" y="65"/>
                  </a:lnTo>
                  <a:lnTo>
                    <a:pt x="192" y="65"/>
                  </a:lnTo>
                  <a:lnTo>
                    <a:pt x="209" y="144"/>
                  </a:lnTo>
                  <a:lnTo>
                    <a:pt x="138" y="161"/>
                  </a:lnTo>
                  <a:lnTo>
                    <a:pt x="138" y="176"/>
                  </a:lnTo>
                  <a:lnTo>
                    <a:pt x="86" y="209"/>
                  </a:lnTo>
                  <a:lnTo>
                    <a:pt x="17" y="240"/>
                  </a:lnTo>
                  <a:lnTo>
                    <a:pt x="0" y="257"/>
                  </a:lnTo>
                  <a:lnTo>
                    <a:pt x="0" y="288"/>
                  </a:lnTo>
                  <a:lnTo>
                    <a:pt x="104" y="353"/>
                  </a:lnTo>
                  <a:lnTo>
                    <a:pt x="261" y="464"/>
                  </a:lnTo>
                  <a:lnTo>
                    <a:pt x="278" y="480"/>
                  </a:lnTo>
                  <a:lnTo>
                    <a:pt x="313" y="497"/>
                  </a:lnTo>
                  <a:lnTo>
                    <a:pt x="330" y="512"/>
                  </a:lnTo>
                  <a:lnTo>
                    <a:pt x="347" y="512"/>
                  </a:lnTo>
                  <a:lnTo>
                    <a:pt x="382" y="512"/>
                  </a:lnTo>
                  <a:lnTo>
                    <a:pt x="555" y="401"/>
                  </a:lnTo>
                  <a:lnTo>
                    <a:pt x="537" y="368"/>
                  </a:lnTo>
                  <a:lnTo>
                    <a:pt x="520" y="368"/>
                  </a:lnTo>
                  <a:lnTo>
                    <a:pt x="486" y="320"/>
                  </a:lnTo>
                  <a:lnTo>
                    <a:pt x="503" y="305"/>
                  </a:lnTo>
                  <a:lnTo>
                    <a:pt x="503" y="272"/>
                  </a:lnTo>
                  <a:lnTo>
                    <a:pt x="503" y="240"/>
                  </a:lnTo>
                  <a:lnTo>
                    <a:pt x="486" y="224"/>
                  </a:lnTo>
                  <a:lnTo>
                    <a:pt x="486" y="209"/>
                  </a:lnTo>
                  <a:lnTo>
                    <a:pt x="486" y="161"/>
                  </a:lnTo>
                  <a:lnTo>
                    <a:pt x="451" y="144"/>
                  </a:lnTo>
                  <a:lnTo>
                    <a:pt x="434" y="113"/>
                  </a:lnTo>
                  <a:lnTo>
                    <a:pt x="468" y="80"/>
                  </a:lnTo>
                  <a:lnTo>
                    <a:pt x="451" y="17"/>
                  </a:lnTo>
                  <a:lnTo>
                    <a:pt x="468" y="0"/>
                  </a:lnTo>
                  <a:lnTo>
                    <a:pt x="451" y="17"/>
                  </a:lnTo>
                  <a:lnTo>
                    <a:pt x="399" y="0"/>
                  </a:lnTo>
                  <a:lnTo>
                    <a:pt x="382" y="17"/>
                  </a:lnTo>
                  <a:lnTo>
                    <a:pt x="347" y="0"/>
                  </a:lnTo>
                  <a:lnTo>
                    <a:pt x="313" y="17"/>
                  </a:lnTo>
                  <a:lnTo>
                    <a:pt x="261" y="17"/>
                  </a:lnTo>
                  <a:lnTo>
                    <a:pt x="173" y="6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7" name="Freeform 298">
              <a:extLst>
                <a:ext uri="{FF2B5EF4-FFF2-40B4-BE49-F238E27FC236}">
                  <a16:creationId xmlns:a16="http://schemas.microsoft.com/office/drawing/2014/main" id="{C39BE27E-78E6-4790-813E-E7634EEEAD61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872038" y="3844926"/>
              <a:ext cx="84138" cy="166688"/>
            </a:xfrm>
            <a:custGeom>
              <a:avLst/>
              <a:gdLst>
                <a:gd name="T0" fmla="*/ 21635 w 105"/>
                <a:gd name="T1" fmla="*/ 25522 h 209"/>
                <a:gd name="T2" fmla="*/ 21635 w 105"/>
                <a:gd name="T3" fmla="*/ 25522 h 209"/>
                <a:gd name="T4" fmla="*/ 21635 w 105"/>
                <a:gd name="T5" fmla="*/ 28712 h 209"/>
                <a:gd name="T6" fmla="*/ 14424 w 105"/>
                <a:gd name="T7" fmla="*/ 35092 h 209"/>
                <a:gd name="T8" fmla="*/ 14424 w 105"/>
                <a:gd name="T9" fmla="*/ 38282 h 209"/>
                <a:gd name="T10" fmla="*/ 11218 w 105"/>
                <a:gd name="T11" fmla="*/ 42270 h 209"/>
                <a:gd name="T12" fmla="*/ 11218 w 105"/>
                <a:gd name="T13" fmla="*/ 32700 h 209"/>
                <a:gd name="T14" fmla="*/ 4007 w 105"/>
                <a:gd name="T15" fmla="*/ 28712 h 209"/>
                <a:gd name="T16" fmla="*/ 0 w 105"/>
                <a:gd name="T17" fmla="*/ 23129 h 209"/>
                <a:gd name="T18" fmla="*/ 7212 w 105"/>
                <a:gd name="T19" fmla="*/ 15951 h 209"/>
                <a:gd name="T20" fmla="*/ 4007 w 105"/>
                <a:gd name="T21" fmla="*/ 3988 h 209"/>
                <a:gd name="T22" fmla="*/ 7212 w 105"/>
                <a:gd name="T23" fmla="*/ 0 h 209"/>
                <a:gd name="T24" fmla="*/ 14424 w 105"/>
                <a:gd name="T25" fmla="*/ 0 h 209"/>
                <a:gd name="T26" fmla="*/ 17629 w 105"/>
                <a:gd name="T27" fmla="*/ 3988 h 209"/>
                <a:gd name="T28" fmla="*/ 21635 w 105"/>
                <a:gd name="T29" fmla="*/ 0 h 209"/>
                <a:gd name="T30" fmla="*/ 17629 w 105"/>
                <a:gd name="T31" fmla="*/ 6380 h 209"/>
                <a:gd name="T32" fmla="*/ 21635 w 105"/>
                <a:gd name="T33" fmla="*/ 13558 h 209"/>
                <a:gd name="T34" fmla="*/ 14424 w 105"/>
                <a:gd name="T35" fmla="*/ 19141 h 209"/>
                <a:gd name="T36" fmla="*/ 14424 w 105"/>
                <a:gd name="T37" fmla="*/ 23129 h 209"/>
                <a:gd name="T38" fmla="*/ 21635 w 105"/>
                <a:gd name="T39" fmla="*/ 23129 h 209"/>
                <a:gd name="T40" fmla="*/ 21635 w 105"/>
                <a:gd name="T41" fmla="*/ 25522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8" name="Freeform 299">
              <a:extLst>
                <a:ext uri="{FF2B5EF4-FFF2-40B4-BE49-F238E27FC236}">
                  <a16:creationId xmlns:a16="http://schemas.microsoft.com/office/drawing/2014/main" id="{1CFA8D41-A1C9-49B1-B2B3-B4F1F5FA4489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448175" y="4122738"/>
              <a:ext cx="355600" cy="317500"/>
            </a:xfrm>
            <a:custGeom>
              <a:avLst/>
              <a:gdLst>
                <a:gd name="T0" fmla="*/ 41183 w 449"/>
                <a:gd name="T1" fmla="*/ 0 h 399"/>
                <a:gd name="T2" fmla="*/ 41183 w 449"/>
                <a:gd name="T3" fmla="*/ 0 h 399"/>
                <a:gd name="T4" fmla="*/ 71278 w 449"/>
                <a:gd name="T5" fmla="*/ 22281 h 399"/>
                <a:gd name="T6" fmla="*/ 75238 w 449"/>
                <a:gd name="T7" fmla="*/ 25464 h 399"/>
                <a:gd name="T8" fmla="*/ 81574 w 449"/>
                <a:gd name="T9" fmla="*/ 28647 h 399"/>
                <a:gd name="T10" fmla="*/ 85534 w 449"/>
                <a:gd name="T11" fmla="*/ 31830 h 399"/>
                <a:gd name="T12" fmla="*/ 88702 w 449"/>
                <a:gd name="T13" fmla="*/ 31830 h 399"/>
                <a:gd name="T14" fmla="*/ 88702 w 449"/>
                <a:gd name="T15" fmla="*/ 47744 h 399"/>
                <a:gd name="T16" fmla="*/ 85534 w 449"/>
                <a:gd name="T17" fmla="*/ 50927 h 399"/>
                <a:gd name="T18" fmla="*/ 68110 w 449"/>
                <a:gd name="T19" fmla="*/ 54110 h 399"/>
                <a:gd name="T20" fmla="*/ 60983 w 449"/>
                <a:gd name="T21" fmla="*/ 54110 h 399"/>
                <a:gd name="T22" fmla="*/ 54647 w 449"/>
                <a:gd name="T23" fmla="*/ 60476 h 399"/>
                <a:gd name="T24" fmla="*/ 47519 w 449"/>
                <a:gd name="T25" fmla="*/ 63659 h 399"/>
                <a:gd name="T26" fmla="*/ 41183 w 449"/>
                <a:gd name="T27" fmla="*/ 73208 h 399"/>
                <a:gd name="T28" fmla="*/ 37223 w 449"/>
                <a:gd name="T29" fmla="*/ 76391 h 399"/>
                <a:gd name="T30" fmla="*/ 34055 w 449"/>
                <a:gd name="T31" fmla="*/ 79574 h 399"/>
                <a:gd name="T32" fmla="*/ 30887 w 449"/>
                <a:gd name="T33" fmla="*/ 76391 h 399"/>
                <a:gd name="T34" fmla="*/ 26927 w 449"/>
                <a:gd name="T35" fmla="*/ 79574 h 399"/>
                <a:gd name="T36" fmla="*/ 23759 w 449"/>
                <a:gd name="T37" fmla="*/ 79574 h 399"/>
                <a:gd name="T38" fmla="*/ 16632 w 449"/>
                <a:gd name="T39" fmla="*/ 66842 h 399"/>
                <a:gd name="T40" fmla="*/ 10296 w 449"/>
                <a:gd name="T41" fmla="*/ 70025 h 399"/>
                <a:gd name="T42" fmla="*/ 3168 w 449"/>
                <a:gd name="T43" fmla="*/ 70025 h 399"/>
                <a:gd name="T44" fmla="*/ 6336 w 449"/>
                <a:gd name="T45" fmla="*/ 66842 h 399"/>
                <a:gd name="T46" fmla="*/ 0 w 449"/>
                <a:gd name="T47" fmla="*/ 54110 h 399"/>
                <a:gd name="T48" fmla="*/ 6336 w 449"/>
                <a:gd name="T49" fmla="*/ 50927 h 399"/>
                <a:gd name="T50" fmla="*/ 10296 w 449"/>
                <a:gd name="T51" fmla="*/ 54110 h 399"/>
                <a:gd name="T52" fmla="*/ 13464 w 449"/>
                <a:gd name="T53" fmla="*/ 50927 h 399"/>
                <a:gd name="T54" fmla="*/ 37223 w 449"/>
                <a:gd name="T55" fmla="*/ 50927 h 399"/>
                <a:gd name="T56" fmla="*/ 30887 w 449"/>
                <a:gd name="T57" fmla="*/ 0 h 399"/>
                <a:gd name="T58" fmla="*/ 41183 w 449"/>
                <a:gd name="T59" fmla="*/ 0 h 3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49"/>
                <a:gd name="T91" fmla="*/ 0 h 399"/>
                <a:gd name="T92" fmla="*/ 449 w 449"/>
                <a:gd name="T93" fmla="*/ 399 h 3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49" h="399">
                  <a:moveTo>
                    <a:pt x="208" y="0"/>
                  </a:moveTo>
                  <a:lnTo>
                    <a:pt x="208" y="0"/>
                  </a:lnTo>
                  <a:lnTo>
                    <a:pt x="363" y="111"/>
                  </a:lnTo>
                  <a:lnTo>
                    <a:pt x="380" y="127"/>
                  </a:lnTo>
                  <a:lnTo>
                    <a:pt x="415" y="144"/>
                  </a:lnTo>
                  <a:lnTo>
                    <a:pt x="432" y="159"/>
                  </a:lnTo>
                  <a:lnTo>
                    <a:pt x="449" y="159"/>
                  </a:lnTo>
                  <a:lnTo>
                    <a:pt x="449" y="240"/>
                  </a:lnTo>
                  <a:lnTo>
                    <a:pt x="432" y="255"/>
                  </a:lnTo>
                  <a:lnTo>
                    <a:pt x="346" y="270"/>
                  </a:lnTo>
                  <a:lnTo>
                    <a:pt x="311" y="270"/>
                  </a:lnTo>
                  <a:lnTo>
                    <a:pt x="277" y="303"/>
                  </a:lnTo>
                  <a:lnTo>
                    <a:pt x="242" y="318"/>
                  </a:lnTo>
                  <a:lnTo>
                    <a:pt x="208" y="366"/>
                  </a:lnTo>
                  <a:lnTo>
                    <a:pt x="190" y="384"/>
                  </a:lnTo>
                  <a:lnTo>
                    <a:pt x="173" y="399"/>
                  </a:lnTo>
                  <a:lnTo>
                    <a:pt x="156" y="384"/>
                  </a:lnTo>
                  <a:lnTo>
                    <a:pt x="138" y="399"/>
                  </a:lnTo>
                  <a:lnTo>
                    <a:pt x="121" y="399"/>
                  </a:lnTo>
                  <a:lnTo>
                    <a:pt x="87" y="336"/>
                  </a:lnTo>
                  <a:lnTo>
                    <a:pt x="52" y="351"/>
                  </a:lnTo>
                  <a:lnTo>
                    <a:pt x="17" y="351"/>
                  </a:lnTo>
                  <a:lnTo>
                    <a:pt x="35" y="336"/>
                  </a:lnTo>
                  <a:lnTo>
                    <a:pt x="0" y="270"/>
                  </a:lnTo>
                  <a:lnTo>
                    <a:pt x="35" y="255"/>
                  </a:lnTo>
                  <a:lnTo>
                    <a:pt x="52" y="270"/>
                  </a:lnTo>
                  <a:lnTo>
                    <a:pt x="69" y="255"/>
                  </a:lnTo>
                  <a:lnTo>
                    <a:pt x="190" y="255"/>
                  </a:lnTo>
                  <a:lnTo>
                    <a:pt x="156" y="0"/>
                  </a:lnTo>
                  <a:lnTo>
                    <a:pt x="208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39" name="Freeform 300">
              <a:extLst>
                <a:ext uri="{FF2B5EF4-FFF2-40B4-BE49-F238E27FC236}">
                  <a16:creationId xmlns:a16="http://schemas.microsoft.com/office/drawing/2014/main" id="{91BC5B1E-C447-4C06-B1F3-182B02D0CF51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349750" y="4073526"/>
              <a:ext cx="261938" cy="266700"/>
            </a:xfrm>
            <a:custGeom>
              <a:avLst/>
              <a:gdLst>
                <a:gd name="T0" fmla="*/ 0 w 331"/>
                <a:gd name="T1" fmla="*/ 35029 h 335"/>
                <a:gd name="T2" fmla="*/ 0 w 331"/>
                <a:gd name="T3" fmla="*/ 35029 h 335"/>
                <a:gd name="T4" fmla="*/ 3165 w 331"/>
                <a:gd name="T5" fmla="*/ 32641 h 335"/>
                <a:gd name="T6" fmla="*/ 20575 w 331"/>
                <a:gd name="T7" fmla="*/ 32641 h 335"/>
                <a:gd name="T8" fmla="*/ 20575 w 331"/>
                <a:gd name="T9" fmla="*/ 25476 h 335"/>
                <a:gd name="T10" fmla="*/ 27697 w 331"/>
                <a:gd name="T11" fmla="*/ 23087 h 335"/>
                <a:gd name="T12" fmla="*/ 27697 w 331"/>
                <a:gd name="T13" fmla="*/ 6369 h 335"/>
                <a:gd name="T14" fmla="*/ 44316 w 331"/>
                <a:gd name="T15" fmla="*/ 6369 h 335"/>
                <a:gd name="T16" fmla="*/ 44316 w 331"/>
                <a:gd name="T17" fmla="*/ 0 h 335"/>
                <a:gd name="T18" fmla="*/ 64891 w 331"/>
                <a:gd name="T19" fmla="*/ 13534 h 335"/>
                <a:gd name="T20" fmla="*/ 54603 w 331"/>
                <a:gd name="T21" fmla="*/ 13534 h 335"/>
                <a:gd name="T22" fmla="*/ 61726 w 331"/>
                <a:gd name="T23" fmla="*/ 63690 h 335"/>
                <a:gd name="T24" fmla="*/ 37985 w 331"/>
                <a:gd name="T25" fmla="*/ 63690 h 335"/>
                <a:gd name="T26" fmla="*/ 34028 w 331"/>
                <a:gd name="T27" fmla="*/ 66874 h 335"/>
                <a:gd name="T28" fmla="*/ 30863 w 331"/>
                <a:gd name="T29" fmla="*/ 63690 h 335"/>
                <a:gd name="T30" fmla="*/ 23741 w 331"/>
                <a:gd name="T31" fmla="*/ 66874 h 335"/>
                <a:gd name="T32" fmla="*/ 20575 w 331"/>
                <a:gd name="T33" fmla="*/ 61301 h 335"/>
                <a:gd name="T34" fmla="*/ 10288 w 331"/>
                <a:gd name="T35" fmla="*/ 57321 h 335"/>
                <a:gd name="T36" fmla="*/ 3165 w 331"/>
                <a:gd name="T37" fmla="*/ 57321 h 335"/>
                <a:gd name="T38" fmla="*/ 0 w 331"/>
                <a:gd name="T39" fmla="*/ 61301 h 335"/>
                <a:gd name="T40" fmla="*/ 3165 w 331"/>
                <a:gd name="T41" fmla="*/ 47767 h 335"/>
                <a:gd name="T42" fmla="*/ 0 w 331"/>
                <a:gd name="T43" fmla="*/ 44583 h 335"/>
                <a:gd name="T44" fmla="*/ 3165 w 331"/>
                <a:gd name="T45" fmla="*/ 38214 h 335"/>
                <a:gd name="T46" fmla="*/ 0 w 331"/>
                <a:gd name="T47" fmla="*/ 35029 h 3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"/>
                <a:gd name="T73" fmla="*/ 0 h 335"/>
                <a:gd name="T74" fmla="*/ 331 w 331"/>
                <a:gd name="T75" fmla="*/ 335 h 3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" h="335">
                  <a:moveTo>
                    <a:pt x="0" y="176"/>
                  </a:moveTo>
                  <a:lnTo>
                    <a:pt x="0" y="176"/>
                  </a:lnTo>
                  <a:lnTo>
                    <a:pt x="18" y="161"/>
                  </a:lnTo>
                  <a:lnTo>
                    <a:pt x="106" y="161"/>
                  </a:lnTo>
                  <a:lnTo>
                    <a:pt x="106" y="128"/>
                  </a:lnTo>
                  <a:lnTo>
                    <a:pt x="140" y="113"/>
                  </a:lnTo>
                  <a:lnTo>
                    <a:pt x="140" y="32"/>
                  </a:lnTo>
                  <a:lnTo>
                    <a:pt x="227" y="32"/>
                  </a:lnTo>
                  <a:lnTo>
                    <a:pt x="227" y="0"/>
                  </a:lnTo>
                  <a:lnTo>
                    <a:pt x="331" y="65"/>
                  </a:lnTo>
                  <a:lnTo>
                    <a:pt x="279" y="65"/>
                  </a:lnTo>
                  <a:lnTo>
                    <a:pt x="313" y="320"/>
                  </a:lnTo>
                  <a:lnTo>
                    <a:pt x="192" y="320"/>
                  </a:lnTo>
                  <a:lnTo>
                    <a:pt x="175" y="335"/>
                  </a:lnTo>
                  <a:lnTo>
                    <a:pt x="158" y="320"/>
                  </a:lnTo>
                  <a:lnTo>
                    <a:pt x="123" y="335"/>
                  </a:lnTo>
                  <a:lnTo>
                    <a:pt x="106" y="305"/>
                  </a:lnTo>
                  <a:lnTo>
                    <a:pt x="52" y="288"/>
                  </a:lnTo>
                  <a:lnTo>
                    <a:pt x="18" y="288"/>
                  </a:lnTo>
                  <a:lnTo>
                    <a:pt x="0" y="305"/>
                  </a:lnTo>
                  <a:lnTo>
                    <a:pt x="18" y="240"/>
                  </a:lnTo>
                  <a:lnTo>
                    <a:pt x="0" y="224"/>
                  </a:lnTo>
                  <a:lnTo>
                    <a:pt x="18" y="192"/>
                  </a:lnTo>
                  <a:lnTo>
                    <a:pt x="0" y="17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0" name="Freeform 301">
              <a:extLst>
                <a:ext uri="{FF2B5EF4-FFF2-40B4-BE49-F238E27FC236}">
                  <a16:creationId xmlns:a16="http://schemas.microsoft.com/office/drawing/2014/main" id="{04EDCA1F-9E3B-4BA1-8761-4F935A09D85A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349750" y="4060826"/>
              <a:ext cx="179388" cy="152400"/>
            </a:xfrm>
            <a:custGeom>
              <a:avLst/>
              <a:gdLst>
                <a:gd name="T0" fmla="*/ 0 w 227"/>
                <a:gd name="T1" fmla="*/ 38100 h 192"/>
                <a:gd name="T2" fmla="*/ 0 w 227"/>
                <a:gd name="T3" fmla="*/ 38100 h 192"/>
                <a:gd name="T4" fmla="*/ 3161 w 227"/>
                <a:gd name="T5" fmla="*/ 35719 h 192"/>
                <a:gd name="T6" fmla="*/ 20547 w 227"/>
                <a:gd name="T7" fmla="*/ 35719 h 192"/>
                <a:gd name="T8" fmla="*/ 20547 w 227"/>
                <a:gd name="T9" fmla="*/ 28575 h 192"/>
                <a:gd name="T10" fmla="*/ 27659 w 227"/>
                <a:gd name="T11" fmla="*/ 26194 h 192"/>
                <a:gd name="T12" fmla="*/ 27659 w 227"/>
                <a:gd name="T13" fmla="*/ 9525 h 192"/>
                <a:gd name="T14" fmla="*/ 44254 w 227"/>
                <a:gd name="T15" fmla="*/ 9525 h 192"/>
                <a:gd name="T16" fmla="*/ 44254 w 227"/>
                <a:gd name="T17" fmla="*/ 3175 h 192"/>
                <a:gd name="T18" fmla="*/ 20547 w 227"/>
                <a:gd name="T19" fmla="*/ 0 h 192"/>
                <a:gd name="T20" fmla="*/ 17386 w 227"/>
                <a:gd name="T21" fmla="*/ 7144 h 192"/>
                <a:gd name="T22" fmla="*/ 13434 w 227"/>
                <a:gd name="T23" fmla="*/ 9525 h 192"/>
                <a:gd name="T24" fmla="*/ 10273 w 227"/>
                <a:gd name="T25" fmla="*/ 19050 h 192"/>
                <a:gd name="T26" fmla="*/ 0 w 227"/>
                <a:gd name="T27" fmla="*/ 31750 h 192"/>
                <a:gd name="T28" fmla="*/ 0 w 227"/>
                <a:gd name="T29" fmla="*/ 38100 h 19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7"/>
                <a:gd name="T46" fmla="*/ 0 h 192"/>
                <a:gd name="T47" fmla="*/ 227 w 227"/>
                <a:gd name="T48" fmla="*/ 192 h 19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7" h="192">
                  <a:moveTo>
                    <a:pt x="0" y="192"/>
                  </a:moveTo>
                  <a:lnTo>
                    <a:pt x="0" y="192"/>
                  </a:lnTo>
                  <a:lnTo>
                    <a:pt x="18" y="177"/>
                  </a:lnTo>
                  <a:lnTo>
                    <a:pt x="106" y="177"/>
                  </a:lnTo>
                  <a:lnTo>
                    <a:pt x="106" y="144"/>
                  </a:lnTo>
                  <a:lnTo>
                    <a:pt x="140" y="129"/>
                  </a:lnTo>
                  <a:lnTo>
                    <a:pt x="140" y="48"/>
                  </a:lnTo>
                  <a:lnTo>
                    <a:pt x="227" y="48"/>
                  </a:lnTo>
                  <a:lnTo>
                    <a:pt x="227" y="16"/>
                  </a:lnTo>
                  <a:lnTo>
                    <a:pt x="106" y="0"/>
                  </a:lnTo>
                  <a:lnTo>
                    <a:pt x="89" y="33"/>
                  </a:lnTo>
                  <a:lnTo>
                    <a:pt x="69" y="48"/>
                  </a:lnTo>
                  <a:lnTo>
                    <a:pt x="52" y="96"/>
                  </a:lnTo>
                  <a:lnTo>
                    <a:pt x="0" y="160"/>
                  </a:lnTo>
                  <a:lnTo>
                    <a:pt x="0" y="192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1" name="Freeform 302">
              <a:extLst>
                <a:ext uri="{FF2B5EF4-FFF2-40B4-BE49-F238E27FC236}">
                  <a16:creationId xmlns:a16="http://schemas.microsoft.com/office/drawing/2014/main" id="{EEE65451-DAAA-45C8-AAFE-D6262CDE37EB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348163" y="4364038"/>
              <a:ext cx="68263" cy="12700"/>
            </a:xfrm>
            <a:custGeom>
              <a:avLst/>
              <a:gdLst>
                <a:gd name="T0" fmla="*/ 0 w 87"/>
                <a:gd name="T1" fmla="*/ 3387 h 15"/>
                <a:gd name="T2" fmla="*/ 0 w 87"/>
                <a:gd name="T3" fmla="*/ 3387 h 15"/>
                <a:gd name="T4" fmla="*/ 3139 w 87"/>
                <a:gd name="T5" fmla="*/ 3387 h 15"/>
                <a:gd name="T6" fmla="*/ 10200 w 87"/>
                <a:gd name="T7" fmla="*/ 0 h 15"/>
                <a:gd name="T8" fmla="*/ 13339 w 87"/>
                <a:gd name="T9" fmla="*/ 3387 h 15"/>
                <a:gd name="T10" fmla="*/ 16477 w 87"/>
                <a:gd name="T11" fmla="*/ 0 h 15"/>
                <a:gd name="T12" fmla="*/ 10200 w 87"/>
                <a:gd name="T13" fmla="*/ 0 h 15"/>
                <a:gd name="T14" fmla="*/ 0 w 87"/>
                <a:gd name="T15" fmla="*/ 0 h 15"/>
                <a:gd name="T16" fmla="*/ 0 w 87"/>
                <a:gd name="T17" fmla="*/ 3387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2" name="Freeform 303">
              <a:extLst>
                <a:ext uri="{FF2B5EF4-FFF2-40B4-BE49-F238E27FC236}">
                  <a16:creationId xmlns:a16="http://schemas.microsoft.com/office/drawing/2014/main" id="{AF4C50D6-C421-485F-AAB4-F0EC35AA357B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348163" y="4389438"/>
              <a:ext cx="68263" cy="38100"/>
            </a:xfrm>
            <a:custGeom>
              <a:avLst/>
              <a:gdLst>
                <a:gd name="T0" fmla="*/ 10200 w 87"/>
                <a:gd name="T1" fmla="*/ 9525 h 48"/>
                <a:gd name="T2" fmla="*/ 10200 w 87"/>
                <a:gd name="T3" fmla="*/ 9525 h 48"/>
                <a:gd name="T4" fmla="*/ 16477 w 87"/>
                <a:gd name="T5" fmla="*/ 2381 h 48"/>
                <a:gd name="T6" fmla="*/ 16477 w 87"/>
                <a:gd name="T7" fmla="*/ 0 h 48"/>
                <a:gd name="T8" fmla="*/ 0 w 87"/>
                <a:gd name="T9" fmla="*/ 0 h 48"/>
                <a:gd name="T10" fmla="*/ 6277 w 87"/>
                <a:gd name="T11" fmla="*/ 2381 h 48"/>
                <a:gd name="T12" fmla="*/ 6277 w 87"/>
                <a:gd name="T13" fmla="*/ 5556 h 48"/>
                <a:gd name="T14" fmla="*/ 10200 w 87"/>
                <a:gd name="T15" fmla="*/ 9525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3" name="Freeform 304">
              <a:extLst>
                <a:ext uri="{FF2B5EF4-FFF2-40B4-BE49-F238E27FC236}">
                  <a16:creationId xmlns:a16="http://schemas.microsoft.com/office/drawing/2014/main" id="{AC678757-84AD-4556-AB1F-D3E3E146ABB3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430713" y="4440238"/>
              <a:ext cx="57150" cy="63500"/>
            </a:xfrm>
            <a:custGeom>
              <a:avLst/>
              <a:gdLst>
                <a:gd name="T0" fmla="*/ 0 w 71"/>
                <a:gd name="T1" fmla="*/ 2352 h 81"/>
                <a:gd name="T2" fmla="*/ 0 w 71"/>
                <a:gd name="T3" fmla="*/ 2352 h 81"/>
                <a:gd name="T4" fmla="*/ 4025 w 71"/>
                <a:gd name="T5" fmla="*/ 0 h 81"/>
                <a:gd name="T6" fmla="*/ 7244 w 71"/>
                <a:gd name="T7" fmla="*/ 0 h 81"/>
                <a:gd name="T8" fmla="*/ 14489 w 71"/>
                <a:gd name="T9" fmla="*/ 6272 h 81"/>
                <a:gd name="T10" fmla="*/ 14489 w 71"/>
                <a:gd name="T11" fmla="*/ 9407 h 81"/>
                <a:gd name="T12" fmla="*/ 7244 w 71"/>
                <a:gd name="T13" fmla="*/ 15679 h 81"/>
                <a:gd name="T14" fmla="*/ 4025 w 71"/>
                <a:gd name="T15" fmla="*/ 11759 h 81"/>
                <a:gd name="T16" fmla="*/ 0 w 71"/>
                <a:gd name="T17" fmla="*/ 11759 h 81"/>
                <a:gd name="T18" fmla="*/ 0 w 71"/>
                <a:gd name="T19" fmla="*/ 2352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4" name="Freeform 305">
              <a:extLst>
                <a:ext uri="{FF2B5EF4-FFF2-40B4-BE49-F238E27FC236}">
                  <a16:creationId xmlns:a16="http://schemas.microsoft.com/office/drawing/2014/main" id="{25283521-2376-442E-B6F7-B96DFA1DE2B6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457700" y="4465638"/>
              <a:ext cx="98425" cy="88900"/>
            </a:xfrm>
            <a:custGeom>
              <a:avLst/>
              <a:gdLst>
                <a:gd name="T0" fmla="*/ 25816 w 122"/>
                <a:gd name="T1" fmla="*/ 22425 h 111"/>
                <a:gd name="T2" fmla="*/ 25816 w 122"/>
                <a:gd name="T3" fmla="*/ 22425 h 111"/>
                <a:gd name="T4" fmla="*/ 25816 w 122"/>
                <a:gd name="T5" fmla="*/ 16018 h 111"/>
                <a:gd name="T6" fmla="*/ 17749 w 122"/>
                <a:gd name="T7" fmla="*/ 12814 h 111"/>
                <a:gd name="T8" fmla="*/ 17749 w 122"/>
                <a:gd name="T9" fmla="*/ 6407 h 111"/>
                <a:gd name="T10" fmla="*/ 14522 w 122"/>
                <a:gd name="T11" fmla="*/ 6407 h 111"/>
                <a:gd name="T12" fmla="*/ 10488 w 122"/>
                <a:gd name="T13" fmla="*/ 0 h 111"/>
                <a:gd name="T14" fmla="*/ 7261 w 122"/>
                <a:gd name="T15" fmla="*/ 3204 h 111"/>
                <a:gd name="T16" fmla="*/ 0 w 122"/>
                <a:gd name="T17" fmla="*/ 9611 h 111"/>
                <a:gd name="T18" fmla="*/ 17749 w 122"/>
                <a:gd name="T19" fmla="*/ 22425 h 111"/>
                <a:gd name="T20" fmla="*/ 25816 w 122"/>
                <a:gd name="T21" fmla="*/ 22425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5" name="Freeform 306">
              <a:extLst>
                <a:ext uri="{FF2B5EF4-FFF2-40B4-BE49-F238E27FC236}">
                  <a16:creationId xmlns:a16="http://schemas.microsoft.com/office/drawing/2014/main" id="{89D31957-707F-415D-9EBD-3E2131C02EB0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527550" y="4427538"/>
              <a:ext cx="138113" cy="127000"/>
            </a:xfrm>
            <a:custGeom>
              <a:avLst/>
              <a:gdLst>
                <a:gd name="T0" fmla="*/ 31135 w 173"/>
                <a:gd name="T1" fmla="*/ 28755 h 159"/>
                <a:gd name="T2" fmla="*/ 31135 w 173"/>
                <a:gd name="T3" fmla="*/ 28755 h 159"/>
                <a:gd name="T4" fmla="*/ 31135 w 173"/>
                <a:gd name="T5" fmla="*/ 19170 h 159"/>
                <a:gd name="T6" fmla="*/ 35127 w 173"/>
                <a:gd name="T7" fmla="*/ 12780 h 159"/>
                <a:gd name="T8" fmla="*/ 31135 w 173"/>
                <a:gd name="T9" fmla="*/ 6390 h 159"/>
                <a:gd name="T10" fmla="*/ 27942 w 173"/>
                <a:gd name="T11" fmla="*/ 3195 h 159"/>
                <a:gd name="T12" fmla="*/ 20757 w 173"/>
                <a:gd name="T13" fmla="*/ 3195 h 159"/>
                <a:gd name="T14" fmla="*/ 17564 w 173"/>
                <a:gd name="T15" fmla="*/ 0 h 159"/>
                <a:gd name="T16" fmla="*/ 14370 w 173"/>
                <a:gd name="T17" fmla="*/ 3195 h 159"/>
                <a:gd name="T18" fmla="*/ 10378 w 173"/>
                <a:gd name="T19" fmla="*/ 0 h 159"/>
                <a:gd name="T20" fmla="*/ 7185 w 173"/>
                <a:gd name="T21" fmla="*/ 3195 h 159"/>
                <a:gd name="T22" fmla="*/ 3992 w 173"/>
                <a:gd name="T23" fmla="*/ 3195 h 159"/>
                <a:gd name="T24" fmla="*/ 3992 w 173"/>
                <a:gd name="T25" fmla="*/ 6390 h 159"/>
                <a:gd name="T26" fmla="*/ 3992 w 173"/>
                <a:gd name="T27" fmla="*/ 9585 h 159"/>
                <a:gd name="T28" fmla="*/ 3992 w 173"/>
                <a:gd name="T29" fmla="*/ 12780 h 159"/>
                <a:gd name="T30" fmla="*/ 3992 w 173"/>
                <a:gd name="T31" fmla="*/ 15975 h 159"/>
                <a:gd name="T32" fmla="*/ 0 w 173"/>
                <a:gd name="T33" fmla="*/ 15975 h 159"/>
                <a:gd name="T34" fmla="*/ 0 w 173"/>
                <a:gd name="T35" fmla="*/ 22365 h 159"/>
                <a:gd name="T36" fmla="*/ 7185 w 173"/>
                <a:gd name="T37" fmla="*/ 25560 h 159"/>
                <a:gd name="T38" fmla="*/ 7185 w 173"/>
                <a:gd name="T39" fmla="*/ 31950 h 159"/>
                <a:gd name="T40" fmla="*/ 14370 w 173"/>
                <a:gd name="T41" fmla="*/ 28755 h 159"/>
                <a:gd name="T42" fmla="*/ 24749 w 173"/>
                <a:gd name="T43" fmla="*/ 28755 h 159"/>
                <a:gd name="T44" fmla="*/ 31135 w 173"/>
                <a:gd name="T45" fmla="*/ 28755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6" name="Freeform 307">
              <a:extLst>
                <a:ext uri="{FF2B5EF4-FFF2-40B4-BE49-F238E27FC236}">
                  <a16:creationId xmlns:a16="http://schemas.microsoft.com/office/drawing/2014/main" id="{81023645-1AA0-4DC8-B090-0292D79F60EC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597400" y="4338638"/>
              <a:ext cx="163513" cy="114300"/>
            </a:xfrm>
            <a:custGeom>
              <a:avLst/>
              <a:gdLst>
                <a:gd name="T0" fmla="*/ 0 w 208"/>
                <a:gd name="T1" fmla="*/ 22225 h 144"/>
                <a:gd name="T2" fmla="*/ 0 w 208"/>
                <a:gd name="T3" fmla="*/ 22225 h 144"/>
                <a:gd name="T4" fmla="*/ 3144 w 208"/>
                <a:gd name="T5" fmla="*/ 19050 h 144"/>
                <a:gd name="T6" fmla="*/ 10220 w 208"/>
                <a:gd name="T7" fmla="*/ 9525 h 144"/>
                <a:gd name="T8" fmla="*/ 16509 w 208"/>
                <a:gd name="T9" fmla="*/ 7144 h 144"/>
                <a:gd name="T10" fmla="*/ 23584 w 208"/>
                <a:gd name="T11" fmla="*/ 0 h 144"/>
                <a:gd name="T12" fmla="*/ 29873 w 208"/>
                <a:gd name="T13" fmla="*/ 0 h 144"/>
                <a:gd name="T14" fmla="*/ 29873 w 208"/>
                <a:gd name="T15" fmla="*/ 7144 h 144"/>
                <a:gd name="T16" fmla="*/ 36948 w 208"/>
                <a:gd name="T17" fmla="*/ 13494 h 144"/>
                <a:gd name="T18" fmla="*/ 40092 w 208"/>
                <a:gd name="T19" fmla="*/ 13494 h 144"/>
                <a:gd name="T20" fmla="*/ 40092 w 208"/>
                <a:gd name="T21" fmla="*/ 15875 h 144"/>
                <a:gd name="T22" fmla="*/ 33803 w 208"/>
                <a:gd name="T23" fmla="*/ 19050 h 144"/>
                <a:gd name="T24" fmla="*/ 26728 w 208"/>
                <a:gd name="T25" fmla="*/ 19050 h 144"/>
                <a:gd name="T26" fmla="*/ 13364 w 208"/>
                <a:gd name="T27" fmla="*/ 19050 h 144"/>
                <a:gd name="T28" fmla="*/ 13364 w 208"/>
                <a:gd name="T29" fmla="*/ 22225 h 144"/>
                <a:gd name="T30" fmla="*/ 13364 w 208"/>
                <a:gd name="T31" fmla="*/ 28575 h 144"/>
                <a:gd name="T32" fmla="*/ 10220 w 208"/>
                <a:gd name="T33" fmla="*/ 26194 h 144"/>
                <a:gd name="T34" fmla="*/ 3144 w 208"/>
                <a:gd name="T35" fmla="*/ 26194 h 144"/>
                <a:gd name="T36" fmla="*/ 0 w 208"/>
                <a:gd name="T37" fmla="*/ 22225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7" name="Freeform 308">
              <a:extLst>
                <a:ext uri="{FF2B5EF4-FFF2-40B4-BE49-F238E27FC236}">
                  <a16:creationId xmlns:a16="http://schemas.microsoft.com/office/drawing/2014/main" id="{3F6AA6C7-00B2-4814-8799-6F795EB8BDD2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706938" y="4414838"/>
              <a:ext cx="41275" cy="101600"/>
            </a:xfrm>
            <a:custGeom>
              <a:avLst/>
              <a:gdLst>
                <a:gd name="T0" fmla="*/ 7144 w 52"/>
                <a:gd name="T1" fmla="*/ 0 h 129"/>
                <a:gd name="T2" fmla="*/ 7144 w 52"/>
                <a:gd name="T3" fmla="*/ 0 h 129"/>
                <a:gd name="T4" fmla="*/ 0 w 52"/>
                <a:gd name="T5" fmla="*/ 0 h 129"/>
                <a:gd name="T6" fmla="*/ 3969 w 52"/>
                <a:gd name="T7" fmla="*/ 12602 h 129"/>
                <a:gd name="T8" fmla="*/ 7144 w 52"/>
                <a:gd name="T9" fmla="*/ 22053 h 129"/>
                <a:gd name="T10" fmla="*/ 7144 w 52"/>
                <a:gd name="T11" fmla="*/ 25203 h 129"/>
                <a:gd name="T12" fmla="*/ 10319 w 52"/>
                <a:gd name="T13" fmla="*/ 25203 h 129"/>
                <a:gd name="T14" fmla="*/ 10319 w 52"/>
                <a:gd name="T15" fmla="*/ 12602 h 129"/>
                <a:gd name="T16" fmla="*/ 10319 w 52"/>
                <a:gd name="T17" fmla="*/ 6301 h 129"/>
                <a:gd name="T18" fmla="*/ 7144 w 52"/>
                <a:gd name="T19" fmla="*/ 3150 h 129"/>
                <a:gd name="T20" fmla="*/ 7144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8" name="Freeform 309">
              <a:extLst>
                <a:ext uri="{FF2B5EF4-FFF2-40B4-BE49-F238E27FC236}">
                  <a16:creationId xmlns:a16="http://schemas.microsoft.com/office/drawing/2014/main" id="{ACD0DB53-4352-4A7A-B348-38763FC829DD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721225" y="4160838"/>
              <a:ext cx="346075" cy="241300"/>
            </a:xfrm>
            <a:custGeom>
              <a:avLst/>
              <a:gdLst>
                <a:gd name="T0" fmla="*/ 73025 w 436"/>
                <a:gd name="T1" fmla="*/ 50968 h 303"/>
                <a:gd name="T2" fmla="*/ 73025 w 436"/>
                <a:gd name="T3" fmla="*/ 50968 h 303"/>
                <a:gd name="T4" fmla="*/ 73025 w 436"/>
                <a:gd name="T5" fmla="*/ 47782 h 303"/>
                <a:gd name="T6" fmla="*/ 83344 w 436"/>
                <a:gd name="T7" fmla="*/ 35040 h 303"/>
                <a:gd name="T8" fmla="*/ 86519 w 436"/>
                <a:gd name="T9" fmla="*/ 15927 h 303"/>
                <a:gd name="T10" fmla="*/ 80169 w 436"/>
                <a:gd name="T11" fmla="*/ 9556 h 303"/>
                <a:gd name="T12" fmla="*/ 80169 w 436"/>
                <a:gd name="T13" fmla="*/ 3185 h 303"/>
                <a:gd name="T14" fmla="*/ 76200 w 436"/>
                <a:gd name="T15" fmla="*/ 0 h 303"/>
                <a:gd name="T16" fmla="*/ 62706 w 436"/>
                <a:gd name="T17" fmla="*/ 0 h 303"/>
                <a:gd name="T18" fmla="*/ 27781 w 436"/>
                <a:gd name="T19" fmla="*/ 22298 h 303"/>
                <a:gd name="T20" fmla="*/ 21431 w 436"/>
                <a:gd name="T21" fmla="*/ 22298 h 303"/>
                <a:gd name="T22" fmla="*/ 21431 w 436"/>
                <a:gd name="T23" fmla="*/ 38226 h 303"/>
                <a:gd name="T24" fmla="*/ 17463 w 436"/>
                <a:gd name="T25" fmla="*/ 41411 h 303"/>
                <a:gd name="T26" fmla="*/ 0 w 436"/>
                <a:gd name="T27" fmla="*/ 44597 h 303"/>
                <a:gd name="T28" fmla="*/ 0 w 436"/>
                <a:gd name="T29" fmla="*/ 50968 h 303"/>
                <a:gd name="T30" fmla="*/ 7144 w 436"/>
                <a:gd name="T31" fmla="*/ 57339 h 303"/>
                <a:gd name="T32" fmla="*/ 10319 w 436"/>
                <a:gd name="T33" fmla="*/ 57339 h 303"/>
                <a:gd name="T34" fmla="*/ 10319 w 436"/>
                <a:gd name="T35" fmla="*/ 60524 h 303"/>
                <a:gd name="T36" fmla="*/ 10319 w 436"/>
                <a:gd name="T37" fmla="*/ 57339 h 303"/>
                <a:gd name="T38" fmla="*/ 14288 w 436"/>
                <a:gd name="T39" fmla="*/ 57339 h 303"/>
                <a:gd name="T40" fmla="*/ 17463 w 436"/>
                <a:gd name="T41" fmla="*/ 60524 h 303"/>
                <a:gd name="T42" fmla="*/ 17463 w 436"/>
                <a:gd name="T43" fmla="*/ 57339 h 303"/>
                <a:gd name="T44" fmla="*/ 23812 w 436"/>
                <a:gd name="T45" fmla="*/ 50968 h 303"/>
                <a:gd name="T46" fmla="*/ 27781 w 436"/>
                <a:gd name="T47" fmla="*/ 50968 h 303"/>
                <a:gd name="T48" fmla="*/ 38100 w 436"/>
                <a:gd name="T49" fmla="*/ 54153 h 303"/>
                <a:gd name="T50" fmla="*/ 42069 w 436"/>
                <a:gd name="T51" fmla="*/ 54153 h 303"/>
                <a:gd name="T52" fmla="*/ 48419 w 436"/>
                <a:gd name="T53" fmla="*/ 57339 h 303"/>
                <a:gd name="T54" fmla="*/ 55563 w 436"/>
                <a:gd name="T55" fmla="*/ 54153 h 303"/>
                <a:gd name="T56" fmla="*/ 65881 w 436"/>
                <a:gd name="T57" fmla="*/ 54153 h 303"/>
                <a:gd name="T58" fmla="*/ 69850 w 436"/>
                <a:gd name="T59" fmla="*/ 50968 h 303"/>
                <a:gd name="T60" fmla="*/ 73025 w 436"/>
                <a:gd name="T61" fmla="*/ 50968 h 3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36"/>
                <a:gd name="T94" fmla="*/ 0 h 303"/>
                <a:gd name="T95" fmla="*/ 436 w 436"/>
                <a:gd name="T96" fmla="*/ 303 h 3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36" h="303">
                  <a:moveTo>
                    <a:pt x="366" y="255"/>
                  </a:moveTo>
                  <a:lnTo>
                    <a:pt x="366" y="255"/>
                  </a:lnTo>
                  <a:lnTo>
                    <a:pt x="366" y="240"/>
                  </a:lnTo>
                  <a:lnTo>
                    <a:pt x="418" y="175"/>
                  </a:lnTo>
                  <a:lnTo>
                    <a:pt x="436" y="79"/>
                  </a:lnTo>
                  <a:lnTo>
                    <a:pt x="401" y="48"/>
                  </a:lnTo>
                  <a:lnTo>
                    <a:pt x="401" y="15"/>
                  </a:lnTo>
                  <a:lnTo>
                    <a:pt x="384" y="0"/>
                  </a:lnTo>
                  <a:lnTo>
                    <a:pt x="313" y="0"/>
                  </a:lnTo>
                  <a:lnTo>
                    <a:pt x="140" y="111"/>
                  </a:lnTo>
                  <a:lnTo>
                    <a:pt x="105" y="111"/>
                  </a:lnTo>
                  <a:lnTo>
                    <a:pt x="105" y="192"/>
                  </a:lnTo>
                  <a:lnTo>
                    <a:pt x="86" y="207"/>
                  </a:lnTo>
                  <a:lnTo>
                    <a:pt x="0" y="222"/>
                  </a:lnTo>
                  <a:lnTo>
                    <a:pt x="0" y="255"/>
                  </a:lnTo>
                  <a:lnTo>
                    <a:pt x="34" y="288"/>
                  </a:lnTo>
                  <a:lnTo>
                    <a:pt x="52" y="288"/>
                  </a:lnTo>
                  <a:lnTo>
                    <a:pt x="52" y="303"/>
                  </a:lnTo>
                  <a:lnTo>
                    <a:pt x="52" y="288"/>
                  </a:lnTo>
                  <a:lnTo>
                    <a:pt x="69" y="288"/>
                  </a:lnTo>
                  <a:lnTo>
                    <a:pt x="86" y="303"/>
                  </a:lnTo>
                  <a:lnTo>
                    <a:pt x="86" y="288"/>
                  </a:lnTo>
                  <a:lnTo>
                    <a:pt x="123" y="255"/>
                  </a:lnTo>
                  <a:lnTo>
                    <a:pt x="140" y="255"/>
                  </a:lnTo>
                  <a:lnTo>
                    <a:pt x="192" y="270"/>
                  </a:lnTo>
                  <a:lnTo>
                    <a:pt x="209" y="270"/>
                  </a:lnTo>
                  <a:lnTo>
                    <a:pt x="244" y="288"/>
                  </a:lnTo>
                  <a:lnTo>
                    <a:pt x="278" y="270"/>
                  </a:lnTo>
                  <a:lnTo>
                    <a:pt x="332" y="270"/>
                  </a:lnTo>
                  <a:lnTo>
                    <a:pt x="349" y="255"/>
                  </a:lnTo>
                  <a:lnTo>
                    <a:pt x="366" y="25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49" name="Freeform 310">
              <a:extLst>
                <a:ext uri="{FF2B5EF4-FFF2-40B4-BE49-F238E27FC236}">
                  <a16:creationId xmlns:a16="http://schemas.microsoft.com/office/drawing/2014/main" id="{614D4184-5625-4F58-96F0-FDF6F7F9266E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337050" y="4300538"/>
              <a:ext cx="136525" cy="88900"/>
            </a:xfrm>
            <a:custGeom>
              <a:avLst/>
              <a:gdLst>
                <a:gd name="T0" fmla="*/ 3157 w 173"/>
                <a:gd name="T1" fmla="*/ 18095 h 113"/>
                <a:gd name="T2" fmla="*/ 3157 w 173"/>
                <a:gd name="T3" fmla="*/ 18095 h 113"/>
                <a:gd name="T4" fmla="*/ 6313 w 173"/>
                <a:gd name="T5" fmla="*/ 18095 h 113"/>
                <a:gd name="T6" fmla="*/ 13416 w 173"/>
                <a:gd name="T7" fmla="*/ 15735 h 113"/>
                <a:gd name="T8" fmla="*/ 16572 w 173"/>
                <a:gd name="T9" fmla="*/ 18095 h 113"/>
                <a:gd name="T10" fmla="*/ 20518 w 173"/>
                <a:gd name="T11" fmla="*/ 15735 h 113"/>
                <a:gd name="T12" fmla="*/ 13416 w 173"/>
                <a:gd name="T13" fmla="*/ 15735 h 113"/>
                <a:gd name="T14" fmla="*/ 3157 w 173"/>
                <a:gd name="T15" fmla="*/ 15735 h 113"/>
                <a:gd name="T16" fmla="*/ 0 w 173"/>
                <a:gd name="T17" fmla="*/ 8654 h 113"/>
                <a:gd name="T18" fmla="*/ 3157 w 173"/>
                <a:gd name="T19" fmla="*/ 3147 h 113"/>
                <a:gd name="T20" fmla="*/ 6313 w 173"/>
                <a:gd name="T21" fmla="*/ 0 h 113"/>
                <a:gd name="T22" fmla="*/ 13416 w 173"/>
                <a:gd name="T23" fmla="*/ 0 h 113"/>
                <a:gd name="T24" fmla="*/ 23675 w 173"/>
                <a:gd name="T25" fmla="*/ 3147 h 113"/>
                <a:gd name="T26" fmla="*/ 26832 w 173"/>
                <a:gd name="T27" fmla="*/ 8654 h 113"/>
                <a:gd name="T28" fmla="*/ 33934 w 173"/>
                <a:gd name="T29" fmla="*/ 22028 h 113"/>
                <a:gd name="T30" fmla="*/ 20518 w 173"/>
                <a:gd name="T31" fmla="*/ 22028 h 113"/>
                <a:gd name="T32" fmla="*/ 3157 w 173"/>
                <a:gd name="T33" fmla="*/ 22028 h 113"/>
                <a:gd name="T34" fmla="*/ 3157 w 173"/>
                <a:gd name="T35" fmla="*/ 18095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0" name="Freeform 311">
              <a:extLst>
                <a:ext uri="{FF2B5EF4-FFF2-40B4-BE49-F238E27FC236}">
                  <a16:creationId xmlns:a16="http://schemas.microsoft.com/office/drawing/2014/main" id="{E2FA5FE2-FE91-4E52-9056-E3A7F66BA5DF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52963" y="4414838"/>
              <a:ext cx="82550" cy="127000"/>
            </a:xfrm>
            <a:custGeom>
              <a:avLst/>
              <a:gdLst>
                <a:gd name="T0" fmla="*/ 0 w 104"/>
                <a:gd name="T1" fmla="*/ 9407 h 162"/>
                <a:gd name="T2" fmla="*/ 0 w 104"/>
                <a:gd name="T3" fmla="*/ 9407 h 162"/>
                <a:gd name="T4" fmla="*/ 0 w 104"/>
                <a:gd name="T5" fmla="*/ 3136 h 162"/>
                <a:gd name="T6" fmla="*/ 0 w 104"/>
                <a:gd name="T7" fmla="*/ 0 h 162"/>
                <a:gd name="T8" fmla="*/ 14288 w 104"/>
                <a:gd name="T9" fmla="*/ 0 h 162"/>
                <a:gd name="T10" fmla="*/ 17463 w 104"/>
                <a:gd name="T11" fmla="*/ 12543 h 162"/>
                <a:gd name="T12" fmla="*/ 20638 w 104"/>
                <a:gd name="T13" fmla="*/ 21951 h 162"/>
                <a:gd name="T14" fmla="*/ 20638 w 104"/>
                <a:gd name="T15" fmla="*/ 25086 h 162"/>
                <a:gd name="T16" fmla="*/ 3969 w 104"/>
                <a:gd name="T17" fmla="*/ 31358 h 162"/>
                <a:gd name="T18" fmla="*/ 0 w 104"/>
                <a:gd name="T19" fmla="*/ 31358 h 162"/>
                <a:gd name="T20" fmla="*/ 0 w 104"/>
                <a:gd name="T21" fmla="*/ 21951 h 162"/>
                <a:gd name="T22" fmla="*/ 3969 w 104"/>
                <a:gd name="T23" fmla="*/ 15679 h 162"/>
                <a:gd name="T24" fmla="*/ 0 w 104"/>
                <a:gd name="T25" fmla="*/ 9407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1" name="Freeform 312">
              <a:extLst>
                <a:ext uri="{FF2B5EF4-FFF2-40B4-BE49-F238E27FC236}">
                  <a16:creationId xmlns:a16="http://schemas.microsoft.com/office/drawing/2014/main" id="{D0288635-8A88-46E7-B8C1-74C7A7D70D62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775200" y="4364038"/>
              <a:ext cx="250825" cy="190500"/>
            </a:xfrm>
            <a:custGeom>
              <a:avLst/>
              <a:gdLst>
                <a:gd name="T0" fmla="*/ 30859 w 317"/>
                <a:gd name="T1" fmla="*/ 45244 h 240"/>
                <a:gd name="T2" fmla="*/ 30859 w 317"/>
                <a:gd name="T3" fmla="*/ 45244 h 240"/>
                <a:gd name="T4" fmla="*/ 37980 w 317"/>
                <a:gd name="T5" fmla="*/ 35719 h 240"/>
                <a:gd name="T6" fmla="*/ 41145 w 317"/>
                <a:gd name="T7" fmla="*/ 35719 h 240"/>
                <a:gd name="T8" fmla="*/ 45101 w 317"/>
                <a:gd name="T9" fmla="*/ 38100 h 240"/>
                <a:gd name="T10" fmla="*/ 48266 w 317"/>
                <a:gd name="T11" fmla="*/ 35719 h 240"/>
                <a:gd name="T12" fmla="*/ 55387 w 317"/>
                <a:gd name="T13" fmla="*/ 26194 h 240"/>
                <a:gd name="T14" fmla="*/ 58552 w 317"/>
                <a:gd name="T15" fmla="*/ 16669 h 240"/>
                <a:gd name="T16" fmla="*/ 62508 w 317"/>
                <a:gd name="T17" fmla="*/ 9525 h 240"/>
                <a:gd name="T18" fmla="*/ 62508 w 317"/>
                <a:gd name="T19" fmla="*/ 7144 h 240"/>
                <a:gd name="T20" fmla="*/ 62508 w 317"/>
                <a:gd name="T21" fmla="*/ 3175 h 240"/>
                <a:gd name="T22" fmla="*/ 58552 w 317"/>
                <a:gd name="T23" fmla="*/ 0 h 240"/>
                <a:gd name="T24" fmla="*/ 55387 w 317"/>
                <a:gd name="T25" fmla="*/ 0 h 240"/>
                <a:gd name="T26" fmla="*/ 52222 w 317"/>
                <a:gd name="T27" fmla="*/ 3175 h 240"/>
                <a:gd name="T28" fmla="*/ 41145 w 317"/>
                <a:gd name="T29" fmla="*/ 3175 h 240"/>
                <a:gd name="T30" fmla="*/ 34815 w 317"/>
                <a:gd name="T31" fmla="*/ 7144 h 240"/>
                <a:gd name="T32" fmla="*/ 27694 w 317"/>
                <a:gd name="T33" fmla="*/ 3175 h 240"/>
                <a:gd name="T34" fmla="*/ 23737 w 317"/>
                <a:gd name="T35" fmla="*/ 3175 h 240"/>
                <a:gd name="T36" fmla="*/ 13451 w 317"/>
                <a:gd name="T37" fmla="*/ 0 h 240"/>
                <a:gd name="T38" fmla="*/ 10286 w 317"/>
                <a:gd name="T39" fmla="*/ 0 h 240"/>
                <a:gd name="T40" fmla="*/ 3165 w 317"/>
                <a:gd name="T41" fmla="*/ 7144 h 240"/>
                <a:gd name="T42" fmla="*/ 3165 w 317"/>
                <a:gd name="T43" fmla="*/ 9525 h 240"/>
                <a:gd name="T44" fmla="*/ 3165 w 317"/>
                <a:gd name="T45" fmla="*/ 16669 h 240"/>
                <a:gd name="T46" fmla="*/ 0 w 317"/>
                <a:gd name="T47" fmla="*/ 28575 h 240"/>
                <a:gd name="T48" fmla="*/ 0 w 317"/>
                <a:gd name="T49" fmla="*/ 38100 h 240"/>
                <a:gd name="T50" fmla="*/ 10286 w 317"/>
                <a:gd name="T51" fmla="*/ 38100 h 240"/>
                <a:gd name="T52" fmla="*/ 10286 w 317"/>
                <a:gd name="T53" fmla="*/ 41275 h 240"/>
                <a:gd name="T54" fmla="*/ 13451 w 317"/>
                <a:gd name="T55" fmla="*/ 47625 h 240"/>
                <a:gd name="T56" fmla="*/ 17407 w 317"/>
                <a:gd name="T57" fmla="*/ 47625 h 240"/>
                <a:gd name="T58" fmla="*/ 30859 w 317"/>
                <a:gd name="T59" fmla="*/ 47625 h 240"/>
                <a:gd name="T60" fmla="*/ 30859 w 317"/>
                <a:gd name="T61" fmla="*/ 45244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40"/>
                <a:gd name="T95" fmla="*/ 317 w 317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40">
                  <a:moveTo>
                    <a:pt x="159" y="225"/>
                  </a:moveTo>
                  <a:lnTo>
                    <a:pt x="159" y="225"/>
                  </a:lnTo>
                  <a:lnTo>
                    <a:pt x="194" y="177"/>
                  </a:lnTo>
                  <a:lnTo>
                    <a:pt x="211" y="177"/>
                  </a:lnTo>
                  <a:lnTo>
                    <a:pt x="228" y="192"/>
                  </a:lnTo>
                  <a:lnTo>
                    <a:pt x="246" y="177"/>
                  </a:lnTo>
                  <a:lnTo>
                    <a:pt x="282" y="129"/>
                  </a:lnTo>
                  <a:lnTo>
                    <a:pt x="299" y="81"/>
                  </a:lnTo>
                  <a:lnTo>
                    <a:pt x="317" y="48"/>
                  </a:lnTo>
                  <a:lnTo>
                    <a:pt x="317" y="33"/>
                  </a:lnTo>
                  <a:lnTo>
                    <a:pt x="317" y="15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65" y="15"/>
                  </a:lnTo>
                  <a:lnTo>
                    <a:pt x="211" y="15"/>
                  </a:lnTo>
                  <a:lnTo>
                    <a:pt x="177" y="33"/>
                  </a:lnTo>
                  <a:lnTo>
                    <a:pt x="142" y="15"/>
                  </a:lnTo>
                  <a:lnTo>
                    <a:pt x="123" y="15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81"/>
                  </a:lnTo>
                  <a:lnTo>
                    <a:pt x="0" y="144"/>
                  </a:lnTo>
                  <a:lnTo>
                    <a:pt x="0" y="192"/>
                  </a:lnTo>
                  <a:lnTo>
                    <a:pt x="54" y="192"/>
                  </a:lnTo>
                  <a:lnTo>
                    <a:pt x="54" y="207"/>
                  </a:lnTo>
                  <a:lnTo>
                    <a:pt x="71" y="240"/>
                  </a:lnTo>
                  <a:lnTo>
                    <a:pt x="88" y="240"/>
                  </a:lnTo>
                  <a:lnTo>
                    <a:pt x="159" y="240"/>
                  </a:lnTo>
                  <a:lnTo>
                    <a:pt x="159" y="22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2" name="Freeform 313">
              <a:extLst>
                <a:ext uri="{FF2B5EF4-FFF2-40B4-BE49-F238E27FC236}">
                  <a16:creationId xmlns:a16="http://schemas.microsoft.com/office/drawing/2014/main" id="{0E3F8A11-E192-424B-B333-499FC1FF469C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735513" y="4389438"/>
              <a:ext cx="55563" cy="127000"/>
            </a:xfrm>
            <a:custGeom>
              <a:avLst/>
              <a:gdLst>
                <a:gd name="T0" fmla="*/ 7247 w 69"/>
                <a:gd name="T1" fmla="*/ 3195 h 159"/>
                <a:gd name="T2" fmla="*/ 7247 w 69"/>
                <a:gd name="T3" fmla="*/ 3195 h 159"/>
                <a:gd name="T4" fmla="*/ 0 w 69"/>
                <a:gd name="T5" fmla="*/ 6390 h 159"/>
                <a:gd name="T6" fmla="*/ 0 w 69"/>
                <a:gd name="T7" fmla="*/ 9585 h 159"/>
                <a:gd name="T8" fmla="*/ 4026 w 69"/>
                <a:gd name="T9" fmla="*/ 12780 h 159"/>
                <a:gd name="T10" fmla="*/ 4026 w 69"/>
                <a:gd name="T11" fmla="*/ 19170 h 159"/>
                <a:gd name="T12" fmla="*/ 4026 w 69"/>
                <a:gd name="T13" fmla="*/ 31950 h 159"/>
                <a:gd name="T14" fmla="*/ 10468 w 69"/>
                <a:gd name="T15" fmla="*/ 31950 h 159"/>
                <a:gd name="T16" fmla="*/ 10468 w 69"/>
                <a:gd name="T17" fmla="*/ 22365 h 159"/>
                <a:gd name="T18" fmla="*/ 14495 w 69"/>
                <a:gd name="T19" fmla="*/ 9585 h 159"/>
                <a:gd name="T20" fmla="*/ 14495 w 69"/>
                <a:gd name="T21" fmla="*/ 3195 h 159"/>
                <a:gd name="T22" fmla="*/ 10468 w 69"/>
                <a:gd name="T23" fmla="*/ 0 h 159"/>
                <a:gd name="T24" fmla="*/ 7247 w 69"/>
                <a:gd name="T25" fmla="*/ 0 h 159"/>
                <a:gd name="T26" fmla="*/ 7247 w 69"/>
                <a:gd name="T27" fmla="*/ 3195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3" name="Freeform 314">
              <a:extLst>
                <a:ext uri="{FF2B5EF4-FFF2-40B4-BE49-F238E27FC236}">
                  <a16:creationId xmlns:a16="http://schemas.microsoft.com/office/drawing/2014/main" id="{20380288-EFAF-47C1-9781-767427DAD65A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391025" y="4389438"/>
              <a:ext cx="150813" cy="101600"/>
            </a:xfrm>
            <a:custGeom>
              <a:avLst/>
              <a:gdLst>
                <a:gd name="T0" fmla="*/ 34925 w 190"/>
                <a:gd name="T1" fmla="*/ 26610 h 126"/>
                <a:gd name="T2" fmla="*/ 34925 w 190"/>
                <a:gd name="T3" fmla="*/ 26610 h 126"/>
                <a:gd name="T4" fmla="*/ 38100 w 190"/>
                <a:gd name="T5" fmla="*/ 26610 h 126"/>
                <a:gd name="T6" fmla="*/ 38100 w 190"/>
                <a:gd name="T7" fmla="*/ 22578 h 126"/>
                <a:gd name="T8" fmla="*/ 38100 w 190"/>
                <a:gd name="T9" fmla="*/ 20159 h 126"/>
                <a:gd name="T10" fmla="*/ 38100 w 190"/>
                <a:gd name="T11" fmla="*/ 16127 h 126"/>
                <a:gd name="T12" fmla="*/ 38100 w 190"/>
                <a:gd name="T13" fmla="*/ 12902 h 126"/>
                <a:gd name="T14" fmla="*/ 30956 w 190"/>
                <a:gd name="T15" fmla="*/ 0 h 126"/>
                <a:gd name="T16" fmla="*/ 23813 w 190"/>
                <a:gd name="T17" fmla="*/ 3225 h 126"/>
                <a:gd name="T18" fmla="*/ 17463 w 190"/>
                <a:gd name="T19" fmla="*/ 3225 h 126"/>
                <a:gd name="T20" fmla="*/ 20638 w 190"/>
                <a:gd name="T21" fmla="*/ 0 h 126"/>
                <a:gd name="T22" fmla="*/ 7144 w 190"/>
                <a:gd name="T23" fmla="*/ 0 h 126"/>
                <a:gd name="T24" fmla="*/ 7144 w 190"/>
                <a:gd name="T25" fmla="*/ 3225 h 126"/>
                <a:gd name="T26" fmla="*/ 0 w 190"/>
                <a:gd name="T27" fmla="*/ 9676 h 126"/>
                <a:gd name="T28" fmla="*/ 10319 w 190"/>
                <a:gd name="T29" fmla="*/ 16127 h 126"/>
                <a:gd name="T30" fmla="*/ 14288 w 190"/>
                <a:gd name="T31" fmla="*/ 12902 h 126"/>
                <a:gd name="T32" fmla="*/ 17463 w 190"/>
                <a:gd name="T33" fmla="*/ 12902 h 126"/>
                <a:gd name="T34" fmla="*/ 23813 w 190"/>
                <a:gd name="T35" fmla="*/ 20159 h 126"/>
                <a:gd name="T36" fmla="*/ 23813 w 190"/>
                <a:gd name="T37" fmla="*/ 22578 h 126"/>
                <a:gd name="T38" fmla="*/ 27781 w 190"/>
                <a:gd name="T39" fmla="*/ 20159 h 126"/>
                <a:gd name="T40" fmla="*/ 30956 w 190"/>
                <a:gd name="T41" fmla="*/ 26610 h 126"/>
                <a:gd name="T42" fmla="*/ 34925 w 190"/>
                <a:gd name="T43" fmla="*/ 26610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4" name="Freeform 315">
              <a:extLst>
                <a:ext uri="{FF2B5EF4-FFF2-40B4-BE49-F238E27FC236}">
                  <a16:creationId xmlns:a16="http://schemas.microsoft.com/office/drawing/2014/main" id="{D763DC65-B28C-435F-8CA4-22699EF23F82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196012" y="3832222"/>
              <a:ext cx="630238" cy="646115"/>
            </a:xfrm>
            <a:custGeom>
              <a:avLst/>
              <a:gdLst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249 w 10000"/>
                <a:gd name="connsiteY74" fmla="*/ 807 h 10599"/>
                <a:gd name="connsiteX75" fmla="*/ 3904 w 10000"/>
                <a:gd name="connsiteY75" fmla="*/ 599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382 w 10000"/>
                <a:gd name="connsiteY74" fmla="*/ 599 h 10599"/>
                <a:gd name="connsiteX75" fmla="*/ 3904 w 10000"/>
                <a:gd name="connsiteY75" fmla="*/ 599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382 w 10000"/>
                <a:gd name="connsiteY74" fmla="*/ 599 h 10599"/>
                <a:gd name="connsiteX75" fmla="*/ 4131 w 10000"/>
                <a:gd name="connsiteY75" fmla="*/ 495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2189 w 10000"/>
                <a:gd name="connsiteY72" fmla="*/ 807 h 10599"/>
                <a:gd name="connsiteX73" fmla="*/ 1940 w 10000"/>
                <a:gd name="connsiteY73" fmla="*/ 417 h 10599"/>
                <a:gd name="connsiteX74" fmla="*/ 2596 w 10000"/>
                <a:gd name="connsiteY74" fmla="*/ 0 h 10599"/>
                <a:gd name="connsiteX75" fmla="*/ 3382 w 10000"/>
                <a:gd name="connsiteY75" fmla="*/ 599 h 10599"/>
                <a:gd name="connsiteX76" fmla="*/ 4131 w 10000"/>
                <a:gd name="connsiteY76" fmla="*/ 495 h 10599"/>
                <a:gd name="connsiteX77" fmla="*/ 4131 w 10000"/>
                <a:gd name="connsiteY77" fmla="*/ 807 h 10599"/>
                <a:gd name="connsiteX78" fmla="*/ 4131 w 10000"/>
                <a:gd name="connsiteY78" fmla="*/ 1224 h 10599"/>
                <a:gd name="connsiteX79" fmla="*/ 3703 w 10000"/>
                <a:gd name="connsiteY79" fmla="*/ 1667 h 10599"/>
                <a:gd name="connsiteX80" fmla="*/ 3904 w 10000"/>
                <a:gd name="connsiteY80" fmla="*/ 2057 h 10599"/>
                <a:gd name="connsiteX81" fmla="*/ 3476 w 10000"/>
                <a:gd name="connsiteY81" fmla="*/ 2057 h 10599"/>
                <a:gd name="connsiteX82" fmla="*/ 3703 w 10000"/>
                <a:gd name="connsiteY82" fmla="*/ 2682 h 10599"/>
                <a:gd name="connsiteX83" fmla="*/ 4358 w 10000"/>
                <a:gd name="connsiteY83" fmla="*/ 2917 h 10599"/>
                <a:gd name="connsiteX84" fmla="*/ 4131 w 10000"/>
                <a:gd name="connsiteY84" fmla="*/ 3542 h 10599"/>
                <a:gd name="connsiteX85" fmla="*/ 4559 w 10000"/>
                <a:gd name="connsiteY85" fmla="*/ 3724 h 10599"/>
                <a:gd name="connsiteX86" fmla="*/ 6524 w 10000"/>
                <a:gd name="connsiteY86" fmla="*/ 4349 h 10599"/>
                <a:gd name="connsiteX87" fmla="*/ 6751 w 10000"/>
                <a:gd name="connsiteY87" fmla="*/ 4349 h 10599"/>
                <a:gd name="connsiteX88" fmla="*/ 6751 w 10000"/>
                <a:gd name="connsiteY88" fmla="*/ 4167 h 10599"/>
                <a:gd name="connsiteX89" fmla="*/ 6751 w 10000"/>
                <a:gd name="connsiteY89" fmla="*/ 3724 h 10599"/>
                <a:gd name="connsiteX90" fmla="*/ 6952 w 10000"/>
                <a:gd name="connsiteY90" fmla="*/ 3724 h 10599"/>
                <a:gd name="connsiteX91" fmla="*/ 7179 w 10000"/>
                <a:gd name="connsiteY91" fmla="*/ 3932 h 10599"/>
                <a:gd name="connsiteX92" fmla="*/ 7179 w 10000"/>
                <a:gd name="connsiteY92" fmla="*/ 4167 h 10599"/>
                <a:gd name="connsiteX93" fmla="*/ 8035 w 10000"/>
                <a:gd name="connsiteY93" fmla="*/ 4167 h 10599"/>
                <a:gd name="connsiteX94" fmla="*/ 8262 w 10000"/>
                <a:gd name="connsiteY94" fmla="*/ 4167 h 10599"/>
                <a:gd name="connsiteX95" fmla="*/ 8035 w 10000"/>
                <a:gd name="connsiteY95" fmla="*/ 3724 h 10599"/>
                <a:gd name="connsiteX96" fmla="*/ 9144 w 10000"/>
                <a:gd name="connsiteY96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2596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2189 w 10000"/>
                <a:gd name="connsiteY72" fmla="*/ 807 h 10599"/>
                <a:gd name="connsiteX73" fmla="*/ 1940 w 10000"/>
                <a:gd name="connsiteY73" fmla="*/ 417 h 10599"/>
                <a:gd name="connsiteX74" fmla="*/ 2596 w 10000"/>
                <a:gd name="connsiteY74" fmla="*/ 0 h 10599"/>
                <a:gd name="connsiteX75" fmla="*/ 3382 w 10000"/>
                <a:gd name="connsiteY75" fmla="*/ 599 h 10599"/>
                <a:gd name="connsiteX76" fmla="*/ 4131 w 10000"/>
                <a:gd name="connsiteY76" fmla="*/ 495 h 10599"/>
                <a:gd name="connsiteX77" fmla="*/ 4131 w 10000"/>
                <a:gd name="connsiteY77" fmla="*/ 807 h 10599"/>
                <a:gd name="connsiteX78" fmla="*/ 4131 w 10000"/>
                <a:gd name="connsiteY78" fmla="*/ 1224 h 10599"/>
                <a:gd name="connsiteX79" fmla="*/ 3703 w 10000"/>
                <a:gd name="connsiteY79" fmla="*/ 1667 h 10599"/>
                <a:gd name="connsiteX80" fmla="*/ 3904 w 10000"/>
                <a:gd name="connsiteY80" fmla="*/ 2057 h 10599"/>
                <a:gd name="connsiteX81" fmla="*/ 3476 w 10000"/>
                <a:gd name="connsiteY81" fmla="*/ 2057 h 10599"/>
                <a:gd name="connsiteX82" fmla="*/ 3703 w 10000"/>
                <a:gd name="connsiteY82" fmla="*/ 2682 h 10599"/>
                <a:gd name="connsiteX83" fmla="*/ 4358 w 10000"/>
                <a:gd name="connsiteY83" fmla="*/ 2917 h 10599"/>
                <a:gd name="connsiteX84" fmla="*/ 4131 w 10000"/>
                <a:gd name="connsiteY84" fmla="*/ 3542 h 10599"/>
                <a:gd name="connsiteX85" fmla="*/ 4559 w 10000"/>
                <a:gd name="connsiteY85" fmla="*/ 3724 h 10599"/>
                <a:gd name="connsiteX86" fmla="*/ 6524 w 10000"/>
                <a:gd name="connsiteY86" fmla="*/ 4349 h 10599"/>
                <a:gd name="connsiteX87" fmla="*/ 6751 w 10000"/>
                <a:gd name="connsiteY87" fmla="*/ 4349 h 10599"/>
                <a:gd name="connsiteX88" fmla="*/ 6751 w 10000"/>
                <a:gd name="connsiteY88" fmla="*/ 4167 h 10599"/>
                <a:gd name="connsiteX89" fmla="*/ 6751 w 10000"/>
                <a:gd name="connsiteY89" fmla="*/ 3724 h 10599"/>
                <a:gd name="connsiteX90" fmla="*/ 6952 w 10000"/>
                <a:gd name="connsiteY90" fmla="*/ 3724 h 10599"/>
                <a:gd name="connsiteX91" fmla="*/ 7179 w 10000"/>
                <a:gd name="connsiteY91" fmla="*/ 3932 h 10599"/>
                <a:gd name="connsiteX92" fmla="*/ 7179 w 10000"/>
                <a:gd name="connsiteY92" fmla="*/ 4167 h 10599"/>
                <a:gd name="connsiteX93" fmla="*/ 8035 w 10000"/>
                <a:gd name="connsiteY93" fmla="*/ 4167 h 10599"/>
                <a:gd name="connsiteX94" fmla="*/ 8262 w 10000"/>
                <a:gd name="connsiteY94" fmla="*/ 4167 h 10599"/>
                <a:gd name="connsiteX95" fmla="*/ 8035 w 10000"/>
                <a:gd name="connsiteY95" fmla="*/ 3724 h 10599"/>
                <a:gd name="connsiteX96" fmla="*/ 9144 w 10000"/>
                <a:gd name="connsiteY96" fmla="*/ 3307 h 1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0000" h="10599">
                  <a:moveTo>
                    <a:pt x="9144" y="3307"/>
                  </a:moveTo>
                  <a:lnTo>
                    <a:pt x="9144" y="3307"/>
                  </a:lnTo>
                  <a:lnTo>
                    <a:pt x="9572" y="3307"/>
                  </a:lnTo>
                  <a:lnTo>
                    <a:pt x="10000" y="3724"/>
                  </a:lnTo>
                  <a:lnTo>
                    <a:pt x="10000" y="4167"/>
                  </a:lnTo>
                  <a:lnTo>
                    <a:pt x="9572" y="4167"/>
                  </a:lnTo>
                  <a:lnTo>
                    <a:pt x="9345" y="4349"/>
                  </a:lnTo>
                  <a:lnTo>
                    <a:pt x="8917" y="5182"/>
                  </a:lnTo>
                  <a:lnTo>
                    <a:pt x="8690" y="5417"/>
                  </a:lnTo>
                  <a:lnTo>
                    <a:pt x="8489" y="5807"/>
                  </a:lnTo>
                  <a:lnTo>
                    <a:pt x="8489" y="6042"/>
                  </a:lnTo>
                  <a:cubicBezTo>
                    <a:pt x="8413" y="5834"/>
                    <a:pt x="8338" y="5625"/>
                    <a:pt x="8262" y="5417"/>
                  </a:cubicBezTo>
                  <a:lnTo>
                    <a:pt x="8262" y="5182"/>
                  </a:lnTo>
                  <a:lnTo>
                    <a:pt x="8035" y="5417"/>
                  </a:lnTo>
                  <a:lnTo>
                    <a:pt x="7834" y="5417"/>
                  </a:lnTo>
                  <a:lnTo>
                    <a:pt x="7834" y="5182"/>
                  </a:lnTo>
                  <a:lnTo>
                    <a:pt x="8262" y="4792"/>
                  </a:lnTo>
                  <a:lnTo>
                    <a:pt x="7406" y="4792"/>
                  </a:lnTo>
                  <a:lnTo>
                    <a:pt x="7406" y="4349"/>
                  </a:lnTo>
                  <a:lnTo>
                    <a:pt x="7179" y="4349"/>
                  </a:lnTo>
                  <a:lnTo>
                    <a:pt x="6952" y="4349"/>
                  </a:lnTo>
                  <a:lnTo>
                    <a:pt x="6952" y="4557"/>
                  </a:lnTo>
                  <a:lnTo>
                    <a:pt x="6751" y="4974"/>
                  </a:lnTo>
                  <a:lnTo>
                    <a:pt x="6952" y="4974"/>
                  </a:lnTo>
                  <a:cubicBezTo>
                    <a:pt x="7028" y="5330"/>
                    <a:pt x="7103" y="5686"/>
                    <a:pt x="7179" y="6042"/>
                  </a:cubicBezTo>
                  <a:lnTo>
                    <a:pt x="6952" y="6042"/>
                  </a:lnTo>
                  <a:lnTo>
                    <a:pt x="6952" y="5807"/>
                  </a:lnTo>
                  <a:lnTo>
                    <a:pt x="6524" y="6042"/>
                  </a:lnTo>
                  <a:cubicBezTo>
                    <a:pt x="6448" y="6250"/>
                    <a:pt x="6373" y="6459"/>
                    <a:pt x="6297" y="6667"/>
                  </a:cubicBezTo>
                  <a:lnTo>
                    <a:pt x="5869" y="6849"/>
                  </a:lnTo>
                  <a:lnTo>
                    <a:pt x="4786" y="7682"/>
                  </a:lnTo>
                  <a:lnTo>
                    <a:pt x="4786" y="7917"/>
                  </a:lnTo>
                  <a:lnTo>
                    <a:pt x="4559" y="7917"/>
                  </a:lnTo>
                  <a:lnTo>
                    <a:pt x="4358" y="8099"/>
                  </a:lnTo>
                  <a:lnTo>
                    <a:pt x="4131" y="8099"/>
                  </a:lnTo>
                  <a:lnTo>
                    <a:pt x="4131" y="8307"/>
                  </a:lnTo>
                  <a:lnTo>
                    <a:pt x="4131" y="8932"/>
                  </a:lnTo>
                  <a:lnTo>
                    <a:pt x="3904" y="9349"/>
                  </a:lnTo>
                  <a:lnTo>
                    <a:pt x="3904" y="9974"/>
                  </a:lnTo>
                  <a:lnTo>
                    <a:pt x="3703" y="10182"/>
                  </a:lnTo>
                  <a:lnTo>
                    <a:pt x="3476" y="10417"/>
                  </a:lnTo>
                  <a:lnTo>
                    <a:pt x="3249" y="10599"/>
                  </a:lnTo>
                  <a:lnTo>
                    <a:pt x="2821" y="10417"/>
                  </a:lnTo>
                  <a:lnTo>
                    <a:pt x="2166" y="8542"/>
                  </a:lnTo>
                  <a:lnTo>
                    <a:pt x="1738" y="7917"/>
                  </a:lnTo>
                  <a:cubicBezTo>
                    <a:pt x="1662" y="7500"/>
                    <a:pt x="1587" y="7084"/>
                    <a:pt x="1511" y="6667"/>
                  </a:cubicBezTo>
                  <a:lnTo>
                    <a:pt x="1511" y="5807"/>
                  </a:lnTo>
                  <a:lnTo>
                    <a:pt x="1310" y="6224"/>
                  </a:lnTo>
                  <a:lnTo>
                    <a:pt x="856" y="6432"/>
                  </a:lnTo>
                  <a:lnTo>
                    <a:pt x="202" y="5807"/>
                  </a:lnTo>
                  <a:lnTo>
                    <a:pt x="655" y="5807"/>
                  </a:lnTo>
                  <a:lnTo>
                    <a:pt x="655" y="5599"/>
                  </a:lnTo>
                  <a:lnTo>
                    <a:pt x="428" y="5599"/>
                  </a:lnTo>
                  <a:lnTo>
                    <a:pt x="0" y="5417"/>
                  </a:lnTo>
                  <a:lnTo>
                    <a:pt x="202" y="5182"/>
                  </a:lnTo>
                  <a:lnTo>
                    <a:pt x="856" y="5182"/>
                  </a:lnTo>
                  <a:lnTo>
                    <a:pt x="856" y="4974"/>
                  </a:lnTo>
                  <a:lnTo>
                    <a:pt x="856" y="4557"/>
                  </a:lnTo>
                  <a:lnTo>
                    <a:pt x="655" y="4557"/>
                  </a:lnTo>
                  <a:lnTo>
                    <a:pt x="655" y="4349"/>
                  </a:lnTo>
                  <a:lnTo>
                    <a:pt x="428" y="4349"/>
                  </a:lnTo>
                  <a:lnTo>
                    <a:pt x="428" y="3932"/>
                  </a:lnTo>
                  <a:lnTo>
                    <a:pt x="655" y="3724"/>
                  </a:lnTo>
                  <a:lnTo>
                    <a:pt x="856" y="3932"/>
                  </a:lnTo>
                  <a:lnTo>
                    <a:pt x="1310" y="3724"/>
                  </a:lnTo>
                  <a:lnTo>
                    <a:pt x="2393" y="2474"/>
                  </a:lnTo>
                  <a:lnTo>
                    <a:pt x="2166" y="2292"/>
                  </a:lnTo>
                  <a:lnTo>
                    <a:pt x="2393" y="2292"/>
                  </a:lnTo>
                  <a:lnTo>
                    <a:pt x="2393" y="2057"/>
                  </a:lnTo>
                  <a:lnTo>
                    <a:pt x="2596" y="1849"/>
                  </a:lnTo>
                  <a:lnTo>
                    <a:pt x="2166" y="1432"/>
                  </a:lnTo>
                  <a:lnTo>
                    <a:pt x="1965" y="1224"/>
                  </a:lnTo>
                  <a:cubicBezTo>
                    <a:pt x="1925" y="1133"/>
                    <a:pt x="2193" y="941"/>
                    <a:pt x="2189" y="807"/>
                  </a:cubicBezTo>
                  <a:cubicBezTo>
                    <a:pt x="2185" y="673"/>
                    <a:pt x="1829" y="565"/>
                    <a:pt x="1940" y="417"/>
                  </a:cubicBezTo>
                  <a:lnTo>
                    <a:pt x="2596" y="0"/>
                  </a:lnTo>
                  <a:lnTo>
                    <a:pt x="3382" y="599"/>
                  </a:lnTo>
                  <a:lnTo>
                    <a:pt x="4131" y="495"/>
                  </a:lnTo>
                  <a:lnTo>
                    <a:pt x="4131" y="807"/>
                  </a:lnTo>
                  <a:lnTo>
                    <a:pt x="4131" y="1224"/>
                  </a:lnTo>
                  <a:lnTo>
                    <a:pt x="3703" y="1667"/>
                  </a:lnTo>
                  <a:lnTo>
                    <a:pt x="3904" y="2057"/>
                  </a:lnTo>
                  <a:lnTo>
                    <a:pt x="3476" y="2057"/>
                  </a:lnTo>
                  <a:cubicBezTo>
                    <a:pt x="3552" y="2265"/>
                    <a:pt x="3627" y="2474"/>
                    <a:pt x="3703" y="2682"/>
                  </a:cubicBezTo>
                  <a:lnTo>
                    <a:pt x="4358" y="2917"/>
                  </a:lnTo>
                  <a:cubicBezTo>
                    <a:pt x="4282" y="3125"/>
                    <a:pt x="4207" y="3334"/>
                    <a:pt x="4131" y="3542"/>
                  </a:cubicBezTo>
                  <a:lnTo>
                    <a:pt x="4559" y="3724"/>
                  </a:lnTo>
                  <a:lnTo>
                    <a:pt x="6524" y="4349"/>
                  </a:lnTo>
                  <a:lnTo>
                    <a:pt x="6751" y="4349"/>
                  </a:lnTo>
                  <a:lnTo>
                    <a:pt x="6751" y="4167"/>
                  </a:lnTo>
                  <a:lnTo>
                    <a:pt x="6751" y="3724"/>
                  </a:lnTo>
                  <a:lnTo>
                    <a:pt x="6952" y="3724"/>
                  </a:lnTo>
                  <a:lnTo>
                    <a:pt x="7179" y="3932"/>
                  </a:lnTo>
                  <a:lnTo>
                    <a:pt x="7179" y="4167"/>
                  </a:lnTo>
                  <a:lnTo>
                    <a:pt x="8035" y="4167"/>
                  </a:lnTo>
                  <a:lnTo>
                    <a:pt x="8262" y="4167"/>
                  </a:lnTo>
                  <a:lnTo>
                    <a:pt x="8035" y="3724"/>
                  </a:lnTo>
                  <a:lnTo>
                    <a:pt x="9144" y="3307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5" name="Freeform 222">
              <a:extLst>
                <a:ext uri="{FF2B5EF4-FFF2-40B4-BE49-F238E27FC236}">
                  <a16:creationId xmlns:a16="http://schemas.microsoft.com/office/drawing/2014/main" id="{D07F2EFD-39C6-448A-A6D2-928068F9A866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5186360" y="3411538"/>
              <a:ext cx="404814" cy="219206"/>
            </a:xfrm>
            <a:custGeom>
              <a:avLst/>
              <a:gdLst>
                <a:gd name="T0" fmla="*/ 42152 w 503"/>
                <a:gd name="T1" fmla="*/ 54153 h 303"/>
                <a:gd name="T2" fmla="*/ 42152 w 503"/>
                <a:gd name="T3" fmla="*/ 54153 h 303"/>
                <a:gd name="T4" fmla="*/ 34994 w 503"/>
                <a:gd name="T5" fmla="*/ 54153 h 303"/>
                <a:gd name="T6" fmla="*/ 34994 w 503"/>
                <a:gd name="T7" fmla="*/ 50968 h 303"/>
                <a:gd name="T8" fmla="*/ 38176 w 503"/>
                <a:gd name="T9" fmla="*/ 44597 h 303"/>
                <a:gd name="T10" fmla="*/ 45334 w 503"/>
                <a:gd name="T11" fmla="*/ 44597 h 303"/>
                <a:gd name="T12" fmla="*/ 45334 w 503"/>
                <a:gd name="T13" fmla="*/ 41411 h 303"/>
                <a:gd name="T14" fmla="*/ 42152 w 503"/>
                <a:gd name="T15" fmla="*/ 35040 h 303"/>
                <a:gd name="T16" fmla="*/ 42152 w 503"/>
                <a:gd name="T17" fmla="*/ 31855 h 303"/>
                <a:gd name="T18" fmla="*/ 31018 w 503"/>
                <a:gd name="T19" fmla="*/ 28669 h 303"/>
                <a:gd name="T20" fmla="*/ 24655 w 503"/>
                <a:gd name="T21" fmla="*/ 31855 h 303"/>
                <a:gd name="T22" fmla="*/ 17497 w 503"/>
                <a:gd name="T23" fmla="*/ 35040 h 303"/>
                <a:gd name="T24" fmla="*/ 14316 w 503"/>
                <a:gd name="T25" fmla="*/ 35040 h 303"/>
                <a:gd name="T26" fmla="*/ 3977 w 503"/>
                <a:gd name="T27" fmla="*/ 35040 h 303"/>
                <a:gd name="T28" fmla="*/ 0 w 503"/>
                <a:gd name="T29" fmla="*/ 31855 h 303"/>
                <a:gd name="T30" fmla="*/ 3977 w 503"/>
                <a:gd name="T31" fmla="*/ 25484 h 303"/>
                <a:gd name="T32" fmla="*/ 7158 w 503"/>
                <a:gd name="T33" fmla="*/ 19113 h 303"/>
                <a:gd name="T34" fmla="*/ 10339 w 503"/>
                <a:gd name="T35" fmla="*/ 15927 h 303"/>
                <a:gd name="T36" fmla="*/ 7158 w 503"/>
                <a:gd name="T37" fmla="*/ 6371 h 303"/>
                <a:gd name="T38" fmla="*/ 14316 w 503"/>
                <a:gd name="T39" fmla="*/ 3185 h 303"/>
                <a:gd name="T40" fmla="*/ 20679 w 503"/>
                <a:gd name="T41" fmla="*/ 3185 h 303"/>
                <a:gd name="T42" fmla="*/ 31018 w 503"/>
                <a:gd name="T43" fmla="*/ 6371 h 303"/>
                <a:gd name="T44" fmla="*/ 34994 w 503"/>
                <a:gd name="T45" fmla="*/ 6371 h 303"/>
                <a:gd name="T46" fmla="*/ 38176 w 503"/>
                <a:gd name="T47" fmla="*/ 6371 h 303"/>
                <a:gd name="T48" fmla="*/ 42152 w 503"/>
                <a:gd name="T49" fmla="*/ 6371 h 303"/>
                <a:gd name="T50" fmla="*/ 48515 w 503"/>
                <a:gd name="T51" fmla="*/ 6371 h 303"/>
                <a:gd name="T52" fmla="*/ 52492 w 503"/>
                <a:gd name="T53" fmla="*/ 0 h 303"/>
                <a:gd name="T54" fmla="*/ 55673 w 503"/>
                <a:gd name="T55" fmla="*/ 0 h 303"/>
                <a:gd name="T56" fmla="*/ 66012 w 503"/>
                <a:gd name="T57" fmla="*/ 0 h 303"/>
                <a:gd name="T58" fmla="*/ 69194 w 503"/>
                <a:gd name="T59" fmla="*/ 3185 h 303"/>
                <a:gd name="T60" fmla="*/ 66012 w 503"/>
                <a:gd name="T61" fmla="*/ 3185 h 303"/>
                <a:gd name="T62" fmla="*/ 69194 w 503"/>
                <a:gd name="T63" fmla="*/ 6371 h 303"/>
                <a:gd name="T64" fmla="*/ 73170 w 503"/>
                <a:gd name="T65" fmla="*/ 6371 h 303"/>
                <a:gd name="T66" fmla="*/ 76351 w 503"/>
                <a:gd name="T67" fmla="*/ 12742 h 303"/>
                <a:gd name="T68" fmla="*/ 79533 w 503"/>
                <a:gd name="T69" fmla="*/ 15927 h 303"/>
                <a:gd name="T70" fmla="*/ 83509 w 503"/>
                <a:gd name="T71" fmla="*/ 12742 h 303"/>
                <a:gd name="T72" fmla="*/ 100211 w 503"/>
                <a:gd name="T73" fmla="*/ 22298 h 303"/>
                <a:gd name="T74" fmla="*/ 97030 w 503"/>
                <a:gd name="T75" fmla="*/ 35040 h 303"/>
                <a:gd name="T76" fmla="*/ 93053 w 503"/>
                <a:gd name="T77" fmla="*/ 31855 h 303"/>
                <a:gd name="T78" fmla="*/ 89872 w 503"/>
                <a:gd name="T79" fmla="*/ 35040 h 303"/>
                <a:gd name="T80" fmla="*/ 89872 w 503"/>
                <a:gd name="T81" fmla="*/ 41411 h 303"/>
                <a:gd name="T82" fmla="*/ 86691 w 503"/>
                <a:gd name="T83" fmla="*/ 41411 h 303"/>
                <a:gd name="T84" fmla="*/ 69194 w 503"/>
                <a:gd name="T85" fmla="*/ 50968 h 303"/>
                <a:gd name="T86" fmla="*/ 76351 w 503"/>
                <a:gd name="T87" fmla="*/ 54153 h 303"/>
                <a:gd name="T88" fmla="*/ 79533 w 503"/>
                <a:gd name="T89" fmla="*/ 54153 h 303"/>
                <a:gd name="T90" fmla="*/ 76351 w 503"/>
                <a:gd name="T91" fmla="*/ 54153 h 303"/>
                <a:gd name="T92" fmla="*/ 66012 w 503"/>
                <a:gd name="T93" fmla="*/ 60524 h 303"/>
                <a:gd name="T94" fmla="*/ 62831 w 503"/>
                <a:gd name="T95" fmla="*/ 60524 h 303"/>
                <a:gd name="T96" fmla="*/ 62831 w 503"/>
                <a:gd name="T97" fmla="*/ 57339 h 303"/>
                <a:gd name="T98" fmla="*/ 58854 w 503"/>
                <a:gd name="T99" fmla="*/ 54153 h 303"/>
                <a:gd name="T100" fmla="*/ 66012 w 503"/>
                <a:gd name="T101" fmla="*/ 50968 h 303"/>
                <a:gd name="T102" fmla="*/ 55673 w 503"/>
                <a:gd name="T103" fmla="*/ 47782 h 303"/>
                <a:gd name="T104" fmla="*/ 55673 w 503"/>
                <a:gd name="T105" fmla="*/ 44597 h 303"/>
                <a:gd name="T106" fmla="*/ 48515 w 503"/>
                <a:gd name="T107" fmla="*/ 44597 h 303"/>
                <a:gd name="T108" fmla="*/ 45334 w 503"/>
                <a:gd name="T109" fmla="*/ 50968 h 303"/>
                <a:gd name="T110" fmla="*/ 42152 w 503"/>
                <a:gd name="T111" fmla="*/ 50968 h 303"/>
                <a:gd name="T112" fmla="*/ 42152 w 503"/>
                <a:gd name="T113" fmla="*/ 54153 h 3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03"/>
                <a:gd name="T172" fmla="*/ 0 h 303"/>
                <a:gd name="T173" fmla="*/ 503 w 503"/>
                <a:gd name="T174" fmla="*/ 303 h 303"/>
                <a:gd name="connsiteX0" fmla="*/ 4155 w 10000"/>
                <a:gd name="connsiteY0" fmla="*/ 8977 h 10000"/>
                <a:gd name="connsiteX1" fmla="*/ 4155 w 10000"/>
                <a:gd name="connsiteY1" fmla="*/ 8977 h 10000"/>
                <a:gd name="connsiteX2" fmla="*/ 3439 w 10000"/>
                <a:gd name="connsiteY2" fmla="*/ 8977 h 10000"/>
                <a:gd name="connsiteX3" fmla="*/ 3439 w 10000"/>
                <a:gd name="connsiteY3" fmla="*/ 8416 h 10000"/>
                <a:gd name="connsiteX4" fmla="*/ 3817 w 10000"/>
                <a:gd name="connsiteY4" fmla="*/ 7393 h 10000"/>
                <a:gd name="connsiteX5" fmla="*/ 4513 w 10000"/>
                <a:gd name="connsiteY5" fmla="*/ 7393 h 10000"/>
                <a:gd name="connsiteX6" fmla="*/ 4513 w 10000"/>
                <a:gd name="connsiteY6" fmla="*/ 6832 h 10000"/>
                <a:gd name="connsiteX7" fmla="*/ 4155 w 10000"/>
                <a:gd name="connsiteY7" fmla="*/ 5809 h 10000"/>
                <a:gd name="connsiteX8" fmla="*/ 4155 w 10000"/>
                <a:gd name="connsiteY8" fmla="*/ 5248 h 10000"/>
                <a:gd name="connsiteX9" fmla="*/ 3101 w 10000"/>
                <a:gd name="connsiteY9" fmla="*/ 4752 h 10000"/>
                <a:gd name="connsiteX10" fmla="*/ 2406 w 10000"/>
                <a:gd name="connsiteY10" fmla="*/ 5248 h 10000"/>
                <a:gd name="connsiteX11" fmla="*/ 1710 w 10000"/>
                <a:gd name="connsiteY11" fmla="*/ 5809 h 10000"/>
                <a:gd name="connsiteX12" fmla="*/ 1372 w 10000"/>
                <a:gd name="connsiteY12" fmla="*/ 5809 h 10000"/>
                <a:gd name="connsiteX13" fmla="*/ 338 w 10000"/>
                <a:gd name="connsiteY13" fmla="*/ 5809 h 10000"/>
                <a:gd name="connsiteX14" fmla="*/ 0 w 10000"/>
                <a:gd name="connsiteY14" fmla="*/ 5248 h 10000"/>
                <a:gd name="connsiteX15" fmla="*/ 338 w 10000"/>
                <a:gd name="connsiteY15" fmla="*/ 4224 h 10000"/>
                <a:gd name="connsiteX16" fmla="*/ 696 w 10000"/>
                <a:gd name="connsiteY16" fmla="*/ 3168 h 10000"/>
                <a:gd name="connsiteX17" fmla="*/ 1034 w 10000"/>
                <a:gd name="connsiteY17" fmla="*/ 2640 h 10000"/>
                <a:gd name="connsiteX18" fmla="*/ 696 w 10000"/>
                <a:gd name="connsiteY18" fmla="*/ 1056 h 10000"/>
                <a:gd name="connsiteX19" fmla="*/ 1372 w 10000"/>
                <a:gd name="connsiteY19" fmla="*/ 495 h 10000"/>
                <a:gd name="connsiteX20" fmla="*/ 2068 w 10000"/>
                <a:gd name="connsiteY20" fmla="*/ 495 h 10000"/>
                <a:gd name="connsiteX21" fmla="*/ 3101 w 10000"/>
                <a:gd name="connsiteY21" fmla="*/ 1056 h 10000"/>
                <a:gd name="connsiteX22" fmla="*/ 3439 w 10000"/>
                <a:gd name="connsiteY22" fmla="*/ 1056 h 10000"/>
                <a:gd name="connsiteX23" fmla="*/ 3817 w 10000"/>
                <a:gd name="connsiteY23" fmla="*/ 1056 h 10000"/>
                <a:gd name="connsiteX24" fmla="*/ 4155 w 10000"/>
                <a:gd name="connsiteY24" fmla="*/ 1056 h 10000"/>
                <a:gd name="connsiteX25" fmla="*/ 4851 w 10000"/>
                <a:gd name="connsiteY25" fmla="*/ 1056 h 10000"/>
                <a:gd name="connsiteX26" fmla="*/ 5189 w 10000"/>
                <a:gd name="connsiteY26" fmla="*/ 0 h 10000"/>
                <a:gd name="connsiteX27" fmla="*/ 5527 w 10000"/>
                <a:gd name="connsiteY27" fmla="*/ 0 h 10000"/>
                <a:gd name="connsiteX28" fmla="*/ 6561 w 10000"/>
                <a:gd name="connsiteY28" fmla="*/ 0 h 10000"/>
                <a:gd name="connsiteX29" fmla="*/ 6918 w 10000"/>
                <a:gd name="connsiteY29" fmla="*/ 495 h 10000"/>
                <a:gd name="connsiteX30" fmla="*/ 6561 w 10000"/>
                <a:gd name="connsiteY30" fmla="*/ 495 h 10000"/>
                <a:gd name="connsiteX31" fmla="*/ 6918 w 10000"/>
                <a:gd name="connsiteY31" fmla="*/ 1056 h 10000"/>
                <a:gd name="connsiteX32" fmla="*/ 7256 w 10000"/>
                <a:gd name="connsiteY32" fmla="*/ 1056 h 10000"/>
                <a:gd name="connsiteX33" fmla="*/ 7594 w 10000"/>
                <a:gd name="connsiteY33" fmla="*/ 2079 h 10000"/>
                <a:gd name="connsiteX34" fmla="*/ 7932 w 10000"/>
                <a:gd name="connsiteY34" fmla="*/ 2640 h 10000"/>
                <a:gd name="connsiteX35" fmla="*/ 8290 w 10000"/>
                <a:gd name="connsiteY35" fmla="*/ 2079 h 10000"/>
                <a:gd name="connsiteX36" fmla="*/ 10000 w 10000"/>
                <a:gd name="connsiteY36" fmla="*/ 3663 h 10000"/>
                <a:gd name="connsiteX37" fmla="*/ 9662 w 10000"/>
                <a:gd name="connsiteY37" fmla="*/ 5809 h 10000"/>
                <a:gd name="connsiteX38" fmla="*/ 9304 w 10000"/>
                <a:gd name="connsiteY38" fmla="*/ 5248 h 10000"/>
                <a:gd name="connsiteX39" fmla="*/ 8966 w 10000"/>
                <a:gd name="connsiteY39" fmla="*/ 5809 h 10000"/>
                <a:gd name="connsiteX40" fmla="*/ 8966 w 10000"/>
                <a:gd name="connsiteY40" fmla="*/ 6832 h 10000"/>
                <a:gd name="connsiteX41" fmla="*/ 8628 w 10000"/>
                <a:gd name="connsiteY41" fmla="*/ 6832 h 10000"/>
                <a:gd name="connsiteX42" fmla="*/ 6918 w 10000"/>
                <a:gd name="connsiteY42" fmla="*/ 8416 h 10000"/>
                <a:gd name="connsiteX43" fmla="*/ 7594 w 10000"/>
                <a:gd name="connsiteY43" fmla="*/ 8977 h 10000"/>
                <a:gd name="connsiteX44" fmla="*/ 7932 w 10000"/>
                <a:gd name="connsiteY44" fmla="*/ 8977 h 10000"/>
                <a:gd name="connsiteX45" fmla="*/ 7594 w 10000"/>
                <a:gd name="connsiteY45" fmla="*/ 8977 h 10000"/>
                <a:gd name="connsiteX46" fmla="*/ 6223 w 10000"/>
                <a:gd name="connsiteY46" fmla="*/ 10000 h 10000"/>
                <a:gd name="connsiteX47" fmla="*/ 6223 w 10000"/>
                <a:gd name="connsiteY47" fmla="*/ 9505 h 10000"/>
                <a:gd name="connsiteX48" fmla="*/ 5885 w 10000"/>
                <a:gd name="connsiteY48" fmla="*/ 8977 h 10000"/>
                <a:gd name="connsiteX49" fmla="*/ 6561 w 10000"/>
                <a:gd name="connsiteY49" fmla="*/ 8416 h 10000"/>
                <a:gd name="connsiteX50" fmla="*/ 5527 w 10000"/>
                <a:gd name="connsiteY50" fmla="*/ 7921 h 10000"/>
                <a:gd name="connsiteX51" fmla="*/ 5527 w 10000"/>
                <a:gd name="connsiteY51" fmla="*/ 7393 h 10000"/>
                <a:gd name="connsiteX52" fmla="*/ 4851 w 10000"/>
                <a:gd name="connsiteY52" fmla="*/ 7393 h 10000"/>
                <a:gd name="connsiteX53" fmla="*/ 4513 w 10000"/>
                <a:gd name="connsiteY53" fmla="*/ 8416 h 10000"/>
                <a:gd name="connsiteX54" fmla="*/ 4155 w 10000"/>
                <a:gd name="connsiteY54" fmla="*/ 8416 h 10000"/>
                <a:gd name="connsiteX55" fmla="*/ 4155 w 10000"/>
                <a:gd name="connsiteY55" fmla="*/ 8977 h 10000"/>
                <a:gd name="connsiteX0" fmla="*/ 4155 w 10000"/>
                <a:gd name="connsiteY0" fmla="*/ 8977 h 9505"/>
                <a:gd name="connsiteX1" fmla="*/ 4155 w 10000"/>
                <a:gd name="connsiteY1" fmla="*/ 8977 h 9505"/>
                <a:gd name="connsiteX2" fmla="*/ 3439 w 10000"/>
                <a:gd name="connsiteY2" fmla="*/ 8977 h 9505"/>
                <a:gd name="connsiteX3" fmla="*/ 3439 w 10000"/>
                <a:gd name="connsiteY3" fmla="*/ 8416 h 9505"/>
                <a:gd name="connsiteX4" fmla="*/ 3817 w 10000"/>
                <a:gd name="connsiteY4" fmla="*/ 7393 h 9505"/>
                <a:gd name="connsiteX5" fmla="*/ 4513 w 10000"/>
                <a:gd name="connsiteY5" fmla="*/ 7393 h 9505"/>
                <a:gd name="connsiteX6" fmla="*/ 4513 w 10000"/>
                <a:gd name="connsiteY6" fmla="*/ 6832 h 9505"/>
                <a:gd name="connsiteX7" fmla="*/ 4155 w 10000"/>
                <a:gd name="connsiteY7" fmla="*/ 5809 h 9505"/>
                <a:gd name="connsiteX8" fmla="*/ 4155 w 10000"/>
                <a:gd name="connsiteY8" fmla="*/ 5248 h 9505"/>
                <a:gd name="connsiteX9" fmla="*/ 3101 w 10000"/>
                <a:gd name="connsiteY9" fmla="*/ 4752 h 9505"/>
                <a:gd name="connsiteX10" fmla="*/ 2406 w 10000"/>
                <a:gd name="connsiteY10" fmla="*/ 5248 h 9505"/>
                <a:gd name="connsiteX11" fmla="*/ 1710 w 10000"/>
                <a:gd name="connsiteY11" fmla="*/ 5809 h 9505"/>
                <a:gd name="connsiteX12" fmla="*/ 1372 w 10000"/>
                <a:gd name="connsiteY12" fmla="*/ 5809 h 9505"/>
                <a:gd name="connsiteX13" fmla="*/ 338 w 10000"/>
                <a:gd name="connsiteY13" fmla="*/ 5809 h 9505"/>
                <a:gd name="connsiteX14" fmla="*/ 0 w 10000"/>
                <a:gd name="connsiteY14" fmla="*/ 5248 h 9505"/>
                <a:gd name="connsiteX15" fmla="*/ 338 w 10000"/>
                <a:gd name="connsiteY15" fmla="*/ 4224 h 9505"/>
                <a:gd name="connsiteX16" fmla="*/ 696 w 10000"/>
                <a:gd name="connsiteY16" fmla="*/ 3168 h 9505"/>
                <a:gd name="connsiteX17" fmla="*/ 1034 w 10000"/>
                <a:gd name="connsiteY17" fmla="*/ 2640 h 9505"/>
                <a:gd name="connsiteX18" fmla="*/ 696 w 10000"/>
                <a:gd name="connsiteY18" fmla="*/ 1056 h 9505"/>
                <a:gd name="connsiteX19" fmla="*/ 1372 w 10000"/>
                <a:gd name="connsiteY19" fmla="*/ 495 h 9505"/>
                <a:gd name="connsiteX20" fmla="*/ 2068 w 10000"/>
                <a:gd name="connsiteY20" fmla="*/ 495 h 9505"/>
                <a:gd name="connsiteX21" fmla="*/ 3101 w 10000"/>
                <a:gd name="connsiteY21" fmla="*/ 1056 h 9505"/>
                <a:gd name="connsiteX22" fmla="*/ 3439 w 10000"/>
                <a:gd name="connsiteY22" fmla="*/ 1056 h 9505"/>
                <a:gd name="connsiteX23" fmla="*/ 3817 w 10000"/>
                <a:gd name="connsiteY23" fmla="*/ 1056 h 9505"/>
                <a:gd name="connsiteX24" fmla="*/ 4155 w 10000"/>
                <a:gd name="connsiteY24" fmla="*/ 1056 h 9505"/>
                <a:gd name="connsiteX25" fmla="*/ 4851 w 10000"/>
                <a:gd name="connsiteY25" fmla="*/ 1056 h 9505"/>
                <a:gd name="connsiteX26" fmla="*/ 5189 w 10000"/>
                <a:gd name="connsiteY26" fmla="*/ 0 h 9505"/>
                <a:gd name="connsiteX27" fmla="*/ 5527 w 10000"/>
                <a:gd name="connsiteY27" fmla="*/ 0 h 9505"/>
                <a:gd name="connsiteX28" fmla="*/ 6561 w 10000"/>
                <a:gd name="connsiteY28" fmla="*/ 0 h 9505"/>
                <a:gd name="connsiteX29" fmla="*/ 6918 w 10000"/>
                <a:gd name="connsiteY29" fmla="*/ 495 h 9505"/>
                <a:gd name="connsiteX30" fmla="*/ 6561 w 10000"/>
                <a:gd name="connsiteY30" fmla="*/ 495 h 9505"/>
                <a:gd name="connsiteX31" fmla="*/ 6918 w 10000"/>
                <a:gd name="connsiteY31" fmla="*/ 1056 h 9505"/>
                <a:gd name="connsiteX32" fmla="*/ 7256 w 10000"/>
                <a:gd name="connsiteY32" fmla="*/ 1056 h 9505"/>
                <a:gd name="connsiteX33" fmla="*/ 7594 w 10000"/>
                <a:gd name="connsiteY33" fmla="*/ 2079 h 9505"/>
                <a:gd name="connsiteX34" fmla="*/ 7932 w 10000"/>
                <a:gd name="connsiteY34" fmla="*/ 2640 h 9505"/>
                <a:gd name="connsiteX35" fmla="*/ 8290 w 10000"/>
                <a:gd name="connsiteY35" fmla="*/ 2079 h 9505"/>
                <a:gd name="connsiteX36" fmla="*/ 10000 w 10000"/>
                <a:gd name="connsiteY36" fmla="*/ 3663 h 9505"/>
                <a:gd name="connsiteX37" fmla="*/ 9662 w 10000"/>
                <a:gd name="connsiteY37" fmla="*/ 5809 h 9505"/>
                <a:gd name="connsiteX38" fmla="*/ 9304 w 10000"/>
                <a:gd name="connsiteY38" fmla="*/ 5248 h 9505"/>
                <a:gd name="connsiteX39" fmla="*/ 8966 w 10000"/>
                <a:gd name="connsiteY39" fmla="*/ 5809 h 9505"/>
                <a:gd name="connsiteX40" fmla="*/ 8966 w 10000"/>
                <a:gd name="connsiteY40" fmla="*/ 6832 h 9505"/>
                <a:gd name="connsiteX41" fmla="*/ 8628 w 10000"/>
                <a:gd name="connsiteY41" fmla="*/ 6832 h 9505"/>
                <a:gd name="connsiteX42" fmla="*/ 6918 w 10000"/>
                <a:gd name="connsiteY42" fmla="*/ 8416 h 9505"/>
                <a:gd name="connsiteX43" fmla="*/ 7594 w 10000"/>
                <a:gd name="connsiteY43" fmla="*/ 8977 h 9505"/>
                <a:gd name="connsiteX44" fmla="*/ 7932 w 10000"/>
                <a:gd name="connsiteY44" fmla="*/ 8977 h 9505"/>
                <a:gd name="connsiteX45" fmla="*/ 7594 w 10000"/>
                <a:gd name="connsiteY45" fmla="*/ 8977 h 9505"/>
                <a:gd name="connsiteX46" fmla="*/ 6223 w 10000"/>
                <a:gd name="connsiteY46" fmla="*/ 9505 h 9505"/>
                <a:gd name="connsiteX47" fmla="*/ 5885 w 10000"/>
                <a:gd name="connsiteY47" fmla="*/ 8977 h 9505"/>
                <a:gd name="connsiteX48" fmla="*/ 6561 w 10000"/>
                <a:gd name="connsiteY48" fmla="*/ 8416 h 9505"/>
                <a:gd name="connsiteX49" fmla="*/ 5527 w 10000"/>
                <a:gd name="connsiteY49" fmla="*/ 7921 h 9505"/>
                <a:gd name="connsiteX50" fmla="*/ 5527 w 10000"/>
                <a:gd name="connsiteY50" fmla="*/ 7393 h 9505"/>
                <a:gd name="connsiteX51" fmla="*/ 4851 w 10000"/>
                <a:gd name="connsiteY51" fmla="*/ 7393 h 9505"/>
                <a:gd name="connsiteX52" fmla="*/ 4513 w 10000"/>
                <a:gd name="connsiteY52" fmla="*/ 8416 h 9505"/>
                <a:gd name="connsiteX53" fmla="*/ 4155 w 10000"/>
                <a:gd name="connsiteY53" fmla="*/ 8416 h 9505"/>
                <a:gd name="connsiteX54" fmla="*/ 4155 w 10000"/>
                <a:gd name="connsiteY54" fmla="*/ 8977 h 9505"/>
                <a:gd name="connsiteX0" fmla="*/ 4155 w 10000"/>
                <a:gd name="connsiteY0" fmla="*/ 9445 h 9445"/>
                <a:gd name="connsiteX1" fmla="*/ 4155 w 10000"/>
                <a:gd name="connsiteY1" fmla="*/ 9445 h 9445"/>
                <a:gd name="connsiteX2" fmla="*/ 3439 w 10000"/>
                <a:gd name="connsiteY2" fmla="*/ 9445 h 9445"/>
                <a:gd name="connsiteX3" fmla="*/ 3439 w 10000"/>
                <a:gd name="connsiteY3" fmla="*/ 8854 h 9445"/>
                <a:gd name="connsiteX4" fmla="*/ 3817 w 10000"/>
                <a:gd name="connsiteY4" fmla="*/ 7778 h 9445"/>
                <a:gd name="connsiteX5" fmla="*/ 4513 w 10000"/>
                <a:gd name="connsiteY5" fmla="*/ 7778 h 9445"/>
                <a:gd name="connsiteX6" fmla="*/ 4513 w 10000"/>
                <a:gd name="connsiteY6" fmla="*/ 7188 h 9445"/>
                <a:gd name="connsiteX7" fmla="*/ 4155 w 10000"/>
                <a:gd name="connsiteY7" fmla="*/ 6112 h 9445"/>
                <a:gd name="connsiteX8" fmla="*/ 4155 w 10000"/>
                <a:gd name="connsiteY8" fmla="*/ 5521 h 9445"/>
                <a:gd name="connsiteX9" fmla="*/ 3101 w 10000"/>
                <a:gd name="connsiteY9" fmla="*/ 4999 h 9445"/>
                <a:gd name="connsiteX10" fmla="*/ 2406 w 10000"/>
                <a:gd name="connsiteY10" fmla="*/ 5521 h 9445"/>
                <a:gd name="connsiteX11" fmla="*/ 1710 w 10000"/>
                <a:gd name="connsiteY11" fmla="*/ 6112 h 9445"/>
                <a:gd name="connsiteX12" fmla="*/ 1372 w 10000"/>
                <a:gd name="connsiteY12" fmla="*/ 6112 h 9445"/>
                <a:gd name="connsiteX13" fmla="*/ 338 w 10000"/>
                <a:gd name="connsiteY13" fmla="*/ 6112 h 9445"/>
                <a:gd name="connsiteX14" fmla="*/ 0 w 10000"/>
                <a:gd name="connsiteY14" fmla="*/ 5521 h 9445"/>
                <a:gd name="connsiteX15" fmla="*/ 338 w 10000"/>
                <a:gd name="connsiteY15" fmla="*/ 4444 h 9445"/>
                <a:gd name="connsiteX16" fmla="*/ 696 w 10000"/>
                <a:gd name="connsiteY16" fmla="*/ 3333 h 9445"/>
                <a:gd name="connsiteX17" fmla="*/ 1034 w 10000"/>
                <a:gd name="connsiteY17" fmla="*/ 2777 h 9445"/>
                <a:gd name="connsiteX18" fmla="*/ 696 w 10000"/>
                <a:gd name="connsiteY18" fmla="*/ 1111 h 9445"/>
                <a:gd name="connsiteX19" fmla="*/ 1372 w 10000"/>
                <a:gd name="connsiteY19" fmla="*/ 521 h 9445"/>
                <a:gd name="connsiteX20" fmla="*/ 2068 w 10000"/>
                <a:gd name="connsiteY20" fmla="*/ 521 h 9445"/>
                <a:gd name="connsiteX21" fmla="*/ 3101 w 10000"/>
                <a:gd name="connsiteY21" fmla="*/ 1111 h 9445"/>
                <a:gd name="connsiteX22" fmla="*/ 3439 w 10000"/>
                <a:gd name="connsiteY22" fmla="*/ 1111 h 9445"/>
                <a:gd name="connsiteX23" fmla="*/ 3817 w 10000"/>
                <a:gd name="connsiteY23" fmla="*/ 1111 h 9445"/>
                <a:gd name="connsiteX24" fmla="*/ 4155 w 10000"/>
                <a:gd name="connsiteY24" fmla="*/ 1111 h 9445"/>
                <a:gd name="connsiteX25" fmla="*/ 4851 w 10000"/>
                <a:gd name="connsiteY25" fmla="*/ 1111 h 9445"/>
                <a:gd name="connsiteX26" fmla="*/ 5189 w 10000"/>
                <a:gd name="connsiteY26" fmla="*/ 0 h 9445"/>
                <a:gd name="connsiteX27" fmla="*/ 5527 w 10000"/>
                <a:gd name="connsiteY27" fmla="*/ 0 h 9445"/>
                <a:gd name="connsiteX28" fmla="*/ 6561 w 10000"/>
                <a:gd name="connsiteY28" fmla="*/ 0 h 9445"/>
                <a:gd name="connsiteX29" fmla="*/ 6918 w 10000"/>
                <a:gd name="connsiteY29" fmla="*/ 521 h 9445"/>
                <a:gd name="connsiteX30" fmla="*/ 6561 w 10000"/>
                <a:gd name="connsiteY30" fmla="*/ 521 h 9445"/>
                <a:gd name="connsiteX31" fmla="*/ 6918 w 10000"/>
                <a:gd name="connsiteY31" fmla="*/ 1111 h 9445"/>
                <a:gd name="connsiteX32" fmla="*/ 7256 w 10000"/>
                <a:gd name="connsiteY32" fmla="*/ 1111 h 9445"/>
                <a:gd name="connsiteX33" fmla="*/ 7594 w 10000"/>
                <a:gd name="connsiteY33" fmla="*/ 2187 h 9445"/>
                <a:gd name="connsiteX34" fmla="*/ 7932 w 10000"/>
                <a:gd name="connsiteY34" fmla="*/ 2777 h 9445"/>
                <a:gd name="connsiteX35" fmla="*/ 8290 w 10000"/>
                <a:gd name="connsiteY35" fmla="*/ 2187 h 9445"/>
                <a:gd name="connsiteX36" fmla="*/ 10000 w 10000"/>
                <a:gd name="connsiteY36" fmla="*/ 3854 h 9445"/>
                <a:gd name="connsiteX37" fmla="*/ 9662 w 10000"/>
                <a:gd name="connsiteY37" fmla="*/ 6112 h 9445"/>
                <a:gd name="connsiteX38" fmla="*/ 9304 w 10000"/>
                <a:gd name="connsiteY38" fmla="*/ 5521 h 9445"/>
                <a:gd name="connsiteX39" fmla="*/ 8966 w 10000"/>
                <a:gd name="connsiteY39" fmla="*/ 6112 h 9445"/>
                <a:gd name="connsiteX40" fmla="*/ 8966 w 10000"/>
                <a:gd name="connsiteY40" fmla="*/ 7188 h 9445"/>
                <a:gd name="connsiteX41" fmla="*/ 8628 w 10000"/>
                <a:gd name="connsiteY41" fmla="*/ 7188 h 9445"/>
                <a:gd name="connsiteX42" fmla="*/ 6918 w 10000"/>
                <a:gd name="connsiteY42" fmla="*/ 8854 h 9445"/>
                <a:gd name="connsiteX43" fmla="*/ 7594 w 10000"/>
                <a:gd name="connsiteY43" fmla="*/ 9445 h 9445"/>
                <a:gd name="connsiteX44" fmla="*/ 7932 w 10000"/>
                <a:gd name="connsiteY44" fmla="*/ 9445 h 9445"/>
                <a:gd name="connsiteX45" fmla="*/ 7594 w 10000"/>
                <a:gd name="connsiteY45" fmla="*/ 9445 h 9445"/>
                <a:gd name="connsiteX46" fmla="*/ 5885 w 10000"/>
                <a:gd name="connsiteY46" fmla="*/ 9445 h 9445"/>
                <a:gd name="connsiteX47" fmla="*/ 6561 w 10000"/>
                <a:gd name="connsiteY47" fmla="*/ 8854 h 9445"/>
                <a:gd name="connsiteX48" fmla="*/ 5527 w 10000"/>
                <a:gd name="connsiteY48" fmla="*/ 8334 h 9445"/>
                <a:gd name="connsiteX49" fmla="*/ 5527 w 10000"/>
                <a:gd name="connsiteY49" fmla="*/ 7778 h 9445"/>
                <a:gd name="connsiteX50" fmla="*/ 4851 w 10000"/>
                <a:gd name="connsiteY50" fmla="*/ 7778 h 9445"/>
                <a:gd name="connsiteX51" fmla="*/ 4513 w 10000"/>
                <a:gd name="connsiteY51" fmla="*/ 8854 h 9445"/>
                <a:gd name="connsiteX52" fmla="*/ 4155 w 10000"/>
                <a:gd name="connsiteY52" fmla="*/ 8854 h 9445"/>
                <a:gd name="connsiteX53" fmla="*/ 4155 w 10000"/>
                <a:gd name="connsiteY53" fmla="*/ 9445 h 9445"/>
                <a:gd name="connsiteX0" fmla="*/ 4155 w 10000"/>
                <a:gd name="connsiteY0" fmla="*/ 10000 h 10000"/>
                <a:gd name="connsiteX1" fmla="*/ 4155 w 10000"/>
                <a:gd name="connsiteY1" fmla="*/ 10000 h 10000"/>
                <a:gd name="connsiteX2" fmla="*/ 3439 w 10000"/>
                <a:gd name="connsiteY2" fmla="*/ 10000 h 10000"/>
                <a:gd name="connsiteX3" fmla="*/ 3439 w 10000"/>
                <a:gd name="connsiteY3" fmla="*/ 9374 h 10000"/>
                <a:gd name="connsiteX4" fmla="*/ 3817 w 10000"/>
                <a:gd name="connsiteY4" fmla="*/ 8235 h 10000"/>
                <a:gd name="connsiteX5" fmla="*/ 4513 w 10000"/>
                <a:gd name="connsiteY5" fmla="*/ 8235 h 10000"/>
                <a:gd name="connsiteX6" fmla="*/ 4513 w 10000"/>
                <a:gd name="connsiteY6" fmla="*/ 7610 h 10000"/>
                <a:gd name="connsiteX7" fmla="*/ 4155 w 10000"/>
                <a:gd name="connsiteY7" fmla="*/ 6471 h 10000"/>
                <a:gd name="connsiteX8" fmla="*/ 4155 w 10000"/>
                <a:gd name="connsiteY8" fmla="*/ 5845 h 10000"/>
                <a:gd name="connsiteX9" fmla="*/ 3101 w 10000"/>
                <a:gd name="connsiteY9" fmla="*/ 5293 h 10000"/>
                <a:gd name="connsiteX10" fmla="*/ 2406 w 10000"/>
                <a:gd name="connsiteY10" fmla="*/ 5845 h 10000"/>
                <a:gd name="connsiteX11" fmla="*/ 1710 w 10000"/>
                <a:gd name="connsiteY11" fmla="*/ 6471 h 10000"/>
                <a:gd name="connsiteX12" fmla="*/ 1372 w 10000"/>
                <a:gd name="connsiteY12" fmla="*/ 6471 h 10000"/>
                <a:gd name="connsiteX13" fmla="*/ 338 w 10000"/>
                <a:gd name="connsiteY13" fmla="*/ 6471 h 10000"/>
                <a:gd name="connsiteX14" fmla="*/ 0 w 10000"/>
                <a:gd name="connsiteY14" fmla="*/ 5845 h 10000"/>
                <a:gd name="connsiteX15" fmla="*/ 338 w 10000"/>
                <a:gd name="connsiteY15" fmla="*/ 4705 h 10000"/>
                <a:gd name="connsiteX16" fmla="*/ 696 w 10000"/>
                <a:gd name="connsiteY16" fmla="*/ 3529 h 10000"/>
                <a:gd name="connsiteX17" fmla="*/ 1034 w 10000"/>
                <a:gd name="connsiteY17" fmla="*/ 2940 h 10000"/>
                <a:gd name="connsiteX18" fmla="*/ 696 w 10000"/>
                <a:gd name="connsiteY18" fmla="*/ 1176 h 10000"/>
                <a:gd name="connsiteX19" fmla="*/ 1372 w 10000"/>
                <a:gd name="connsiteY19" fmla="*/ 552 h 10000"/>
                <a:gd name="connsiteX20" fmla="*/ 2068 w 10000"/>
                <a:gd name="connsiteY20" fmla="*/ 552 h 10000"/>
                <a:gd name="connsiteX21" fmla="*/ 3101 w 10000"/>
                <a:gd name="connsiteY21" fmla="*/ 1176 h 10000"/>
                <a:gd name="connsiteX22" fmla="*/ 3439 w 10000"/>
                <a:gd name="connsiteY22" fmla="*/ 1176 h 10000"/>
                <a:gd name="connsiteX23" fmla="*/ 3817 w 10000"/>
                <a:gd name="connsiteY23" fmla="*/ 1176 h 10000"/>
                <a:gd name="connsiteX24" fmla="*/ 4155 w 10000"/>
                <a:gd name="connsiteY24" fmla="*/ 1176 h 10000"/>
                <a:gd name="connsiteX25" fmla="*/ 4851 w 10000"/>
                <a:gd name="connsiteY25" fmla="*/ 1176 h 10000"/>
                <a:gd name="connsiteX26" fmla="*/ 5189 w 10000"/>
                <a:gd name="connsiteY26" fmla="*/ 0 h 10000"/>
                <a:gd name="connsiteX27" fmla="*/ 5527 w 10000"/>
                <a:gd name="connsiteY27" fmla="*/ 0 h 10000"/>
                <a:gd name="connsiteX28" fmla="*/ 6561 w 10000"/>
                <a:gd name="connsiteY28" fmla="*/ 0 h 10000"/>
                <a:gd name="connsiteX29" fmla="*/ 6918 w 10000"/>
                <a:gd name="connsiteY29" fmla="*/ 552 h 10000"/>
                <a:gd name="connsiteX30" fmla="*/ 6561 w 10000"/>
                <a:gd name="connsiteY30" fmla="*/ 552 h 10000"/>
                <a:gd name="connsiteX31" fmla="*/ 6918 w 10000"/>
                <a:gd name="connsiteY31" fmla="*/ 1176 h 10000"/>
                <a:gd name="connsiteX32" fmla="*/ 7256 w 10000"/>
                <a:gd name="connsiteY32" fmla="*/ 1176 h 10000"/>
                <a:gd name="connsiteX33" fmla="*/ 7594 w 10000"/>
                <a:gd name="connsiteY33" fmla="*/ 2316 h 10000"/>
                <a:gd name="connsiteX34" fmla="*/ 7932 w 10000"/>
                <a:gd name="connsiteY34" fmla="*/ 2940 h 10000"/>
                <a:gd name="connsiteX35" fmla="*/ 8290 w 10000"/>
                <a:gd name="connsiteY35" fmla="*/ 2316 h 10000"/>
                <a:gd name="connsiteX36" fmla="*/ 10000 w 10000"/>
                <a:gd name="connsiteY36" fmla="*/ 4080 h 10000"/>
                <a:gd name="connsiteX37" fmla="*/ 9662 w 10000"/>
                <a:gd name="connsiteY37" fmla="*/ 6471 h 10000"/>
                <a:gd name="connsiteX38" fmla="*/ 9304 w 10000"/>
                <a:gd name="connsiteY38" fmla="*/ 5845 h 10000"/>
                <a:gd name="connsiteX39" fmla="*/ 8966 w 10000"/>
                <a:gd name="connsiteY39" fmla="*/ 6471 h 10000"/>
                <a:gd name="connsiteX40" fmla="*/ 8966 w 10000"/>
                <a:gd name="connsiteY40" fmla="*/ 7610 h 10000"/>
                <a:gd name="connsiteX41" fmla="*/ 8628 w 10000"/>
                <a:gd name="connsiteY41" fmla="*/ 7610 h 10000"/>
                <a:gd name="connsiteX42" fmla="*/ 6918 w 10000"/>
                <a:gd name="connsiteY42" fmla="*/ 9374 h 10000"/>
                <a:gd name="connsiteX43" fmla="*/ 7594 w 10000"/>
                <a:gd name="connsiteY43" fmla="*/ 10000 h 10000"/>
                <a:gd name="connsiteX44" fmla="*/ 7932 w 10000"/>
                <a:gd name="connsiteY44" fmla="*/ 10000 h 10000"/>
                <a:gd name="connsiteX45" fmla="*/ 7594 w 10000"/>
                <a:gd name="connsiteY45" fmla="*/ 10000 h 10000"/>
                <a:gd name="connsiteX46" fmla="*/ 6561 w 10000"/>
                <a:gd name="connsiteY46" fmla="*/ 9374 h 10000"/>
                <a:gd name="connsiteX47" fmla="*/ 5527 w 10000"/>
                <a:gd name="connsiteY47" fmla="*/ 8824 h 10000"/>
                <a:gd name="connsiteX48" fmla="*/ 5527 w 10000"/>
                <a:gd name="connsiteY48" fmla="*/ 8235 h 10000"/>
                <a:gd name="connsiteX49" fmla="*/ 4851 w 10000"/>
                <a:gd name="connsiteY49" fmla="*/ 8235 h 10000"/>
                <a:gd name="connsiteX50" fmla="*/ 4513 w 10000"/>
                <a:gd name="connsiteY50" fmla="*/ 9374 h 10000"/>
                <a:gd name="connsiteX51" fmla="*/ 4155 w 10000"/>
                <a:gd name="connsiteY51" fmla="*/ 9374 h 10000"/>
                <a:gd name="connsiteX52" fmla="*/ 4155 w 10000"/>
                <a:gd name="connsiteY52" fmla="*/ 10000 h 10000"/>
                <a:gd name="connsiteX0" fmla="*/ 4155 w 10000"/>
                <a:gd name="connsiteY0" fmla="*/ 10000 h 10000"/>
                <a:gd name="connsiteX1" fmla="*/ 4155 w 10000"/>
                <a:gd name="connsiteY1" fmla="*/ 10000 h 10000"/>
                <a:gd name="connsiteX2" fmla="*/ 3439 w 10000"/>
                <a:gd name="connsiteY2" fmla="*/ 10000 h 10000"/>
                <a:gd name="connsiteX3" fmla="*/ 3439 w 10000"/>
                <a:gd name="connsiteY3" fmla="*/ 9374 h 10000"/>
                <a:gd name="connsiteX4" fmla="*/ 3817 w 10000"/>
                <a:gd name="connsiteY4" fmla="*/ 8235 h 10000"/>
                <a:gd name="connsiteX5" fmla="*/ 4513 w 10000"/>
                <a:gd name="connsiteY5" fmla="*/ 8235 h 10000"/>
                <a:gd name="connsiteX6" fmla="*/ 4513 w 10000"/>
                <a:gd name="connsiteY6" fmla="*/ 7610 h 10000"/>
                <a:gd name="connsiteX7" fmla="*/ 4155 w 10000"/>
                <a:gd name="connsiteY7" fmla="*/ 6471 h 10000"/>
                <a:gd name="connsiteX8" fmla="*/ 4155 w 10000"/>
                <a:gd name="connsiteY8" fmla="*/ 5845 h 10000"/>
                <a:gd name="connsiteX9" fmla="*/ 3101 w 10000"/>
                <a:gd name="connsiteY9" fmla="*/ 5293 h 10000"/>
                <a:gd name="connsiteX10" fmla="*/ 2406 w 10000"/>
                <a:gd name="connsiteY10" fmla="*/ 5845 h 10000"/>
                <a:gd name="connsiteX11" fmla="*/ 1710 w 10000"/>
                <a:gd name="connsiteY11" fmla="*/ 6471 h 10000"/>
                <a:gd name="connsiteX12" fmla="*/ 1372 w 10000"/>
                <a:gd name="connsiteY12" fmla="*/ 6471 h 10000"/>
                <a:gd name="connsiteX13" fmla="*/ 338 w 10000"/>
                <a:gd name="connsiteY13" fmla="*/ 6471 h 10000"/>
                <a:gd name="connsiteX14" fmla="*/ 0 w 10000"/>
                <a:gd name="connsiteY14" fmla="*/ 5845 h 10000"/>
                <a:gd name="connsiteX15" fmla="*/ 338 w 10000"/>
                <a:gd name="connsiteY15" fmla="*/ 4705 h 10000"/>
                <a:gd name="connsiteX16" fmla="*/ 696 w 10000"/>
                <a:gd name="connsiteY16" fmla="*/ 3529 h 10000"/>
                <a:gd name="connsiteX17" fmla="*/ 1034 w 10000"/>
                <a:gd name="connsiteY17" fmla="*/ 2940 h 10000"/>
                <a:gd name="connsiteX18" fmla="*/ 696 w 10000"/>
                <a:gd name="connsiteY18" fmla="*/ 1176 h 10000"/>
                <a:gd name="connsiteX19" fmla="*/ 1372 w 10000"/>
                <a:gd name="connsiteY19" fmla="*/ 552 h 10000"/>
                <a:gd name="connsiteX20" fmla="*/ 2068 w 10000"/>
                <a:gd name="connsiteY20" fmla="*/ 552 h 10000"/>
                <a:gd name="connsiteX21" fmla="*/ 3101 w 10000"/>
                <a:gd name="connsiteY21" fmla="*/ 1176 h 10000"/>
                <a:gd name="connsiteX22" fmla="*/ 3439 w 10000"/>
                <a:gd name="connsiteY22" fmla="*/ 1176 h 10000"/>
                <a:gd name="connsiteX23" fmla="*/ 3817 w 10000"/>
                <a:gd name="connsiteY23" fmla="*/ 1176 h 10000"/>
                <a:gd name="connsiteX24" fmla="*/ 4155 w 10000"/>
                <a:gd name="connsiteY24" fmla="*/ 1176 h 10000"/>
                <a:gd name="connsiteX25" fmla="*/ 4851 w 10000"/>
                <a:gd name="connsiteY25" fmla="*/ 1176 h 10000"/>
                <a:gd name="connsiteX26" fmla="*/ 5189 w 10000"/>
                <a:gd name="connsiteY26" fmla="*/ 0 h 10000"/>
                <a:gd name="connsiteX27" fmla="*/ 5527 w 10000"/>
                <a:gd name="connsiteY27" fmla="*/ 0 h 10000"/>
                <a:gd name="connsiteX28" fmla="*/ 6561 w 10000"/>
                <a:gd name="connsiteY28" fmla="*/ 0 h 10000"/>
                <a:gd name="connsiteX29" fmla="*/ 6918 w 10000"/>
                <a:gd name="connsiteY29" fmla="*/ 552 h 10000"/>
                <a:gd name="connsiteX30" fmla="*/ 6561 w 10000"/>
                <a:gd name="connsiteY30" fmla="*/ 552 h 10000"/>
                <a:gd name="connsiteX31" fmla="*/ 6918 w 10000"/>
                <a:gd name="connsiteY31" fmla="*/ 1176 h 10000"/>
                <a:gd name="connsiteX32" fmla="*/ 7256 w 10000"/>
                <a:gd name="connsiteY32" fmla="*/ 1176 h 10000"/>
                <a:gd name="connsiteX33" fmla="*/ 7594 w 10000"/>
                <a:gd name="connsiteY33" fmla="*/ 2316 h 10000"/>
                <a:gd name="connsiteX34" fmla="*/ 7932 w 10000"/>
                <a:gd name="connsiteY34" fmla="*/ 2940 h 10000"/>
                <a:gd name="connsiteX35" fmla="*/ 8290 w 10000"/>
                <a:gd name="connsiteY35" fmla="*/ 2316 h 10000"/>
                <a:gd name="connsiteX36" fmla="*/ 10000 w 10000"/>
                <a:gd name="connsiteY36" fmla="*/ 4080 h 10000"/>
                <a:gd name="connsiteX37" fmla="*/ 9662 w 10000"/>
                <a:gd name="connsiteY37" fmla="*/ 6471 h 10000"/>
                <a:gd name="connsiteX38" fmla="*/ 9304 w 10000"/>
                <a:gd name="connsiteY38" fmla="*/ 5845 h 10000"/>
                <a:gd name="connsiteX39" fmla="*/ 8966 w 10000"/>
                <a:gd name="connsiteY39" fmla="*/ 6471 h 10000"/>
                <a:gd name="connsiteX40" fmla="*/ 8966 w 10000"/>
                <a:gd name="connsiteY40" fmla="*/ 7610 h 10000"/>
                <a:gd name="connsiteX41" fmla="*/ 8628 w 10000"/>
                <a:gd name="connsiteY41" fmla="*/ 7610 h 10000"/>
                <a:gd name="connsiteX42" fmla="*/ 6918 w 10000"/>
                <a:gd name="connsiteY42" fmla="*/ 9374 h 10000"/>
                <a:gd name="connsiteX43" fmla="*/ 7594 w 10000"/>
                <a:gd name="connsiteY43" fmla="*/ 10000 h 10000"/>
                <a:gd name="connsiteX44" fmla="*/ 7594 w 10000"/>
                <a:gd name="connsiteY44" fmla="*/ 10000 h 10000"/>
                <a:gd name="connsiteX45" fmla="*/ 6561 w 10000"/>
                <a:gd name="connsiteY45" fmla="*/ 9374 h 10000"/>
                <a:gd name="connsiteX46" fmla="*/ 5527 w 10000"/>
                <a:gd name="connsiteY46" fmla="*/ 8824 h 10000"/>
                <a:gd name="connsiteX47" fmla="*/ 5527 w 10000"/>
                <a:gd name="connsiteY47" fmla="*/ 8235 h 10000"/>
                <a:gd name="connsiteX48" fmla="*/ 4851 w 10000"/>
                <a:gd name="connsiteY48" fmla="*/ 8235 h 10000"/>
                <a:gd name="connsiteX49" fmla="*/ 4513 w 10000"/>
                <a:gd name="connsiteY49" fmla="*/ 9374 h 10000"/>
                <a:gd name="connsiteX50" fmla="*/ 4155 w 10000"/>
                <a:gd name="connsiteY50" fmla="*/ 9374 h 10000"/>
                <a:gd name="connsiteX51" fmla="*/ 4155 w 10000"/>
                <a:gd name="connsiteY51" fmla="*/ 10000 h 10000"/>
                <a:gd name="connsiteX0" fmla="*/ 4155 w 10000"/>
                <a:gd name="connsiteY0" fmla="*/ 10000 h 10000"/>
                <a:gd name="connsiteX1" fmla="*/ 4155 w 10000"/>
                <a:gd name="connsiteY1" fmla="*/ 10000 h 10000"/>
                <a:gd name="connsiteX2" fmla="*/ 3439 w 10000"/>
                <a:gd name="connsiteY2" fmla="*/ 10000 h 10000"/>
                <a:gd name="connsiteX3" fmla="*/ 3439 w 10000"/>
                <a:gd name="connsiteY3" fmla="*/ 9374 h 10000"/>
                <a:gd name="connsiteX4" fmla="*/ 3817 w 10000"/>
                <a:gd name="connsiteY4" fmla="*/ 8235 h 10000"/>
                <a:gd name="connsiteX5" fmla="*/ 4513 w 10000"/>
                <a:gd name="connsiteY5" fmla="*/ 8235 h 10000"/>
                <a:gd name="connsiteX6" fmla="*/ 4513 w 10000"/>
                <a:gd name="connsiteY6" fmla="*/ 7610 h 10000"/>
                <a:gd name="connsiteX7" fmla="*/ 4155 w 10000"/>
                <a:gd name="connsiteY7" fmla="*/ 6471 h 10000"/>
                <a:gd name="connsiteX8" fmla="*/ 4155 w 10000"/>
                <a:gd name="connsiteY8" fmla="*/ 5845 h 10000"/>
                <a:gd name="connsiteX9" fmla="*/ 3101 w 10000"/>
                <a:gd name="connsiteY9" fmla="*/ 5293 h 10000"/>
                <a:gd name="connsiteX10" fmla="*/ 2406 w 10000"/>
                <a:gd name="connsiteY10" fmla="*/ 5845 h 10000"/>
                <a:gd name="connsiteX11" fmla="*/ 1710 w 10000"/>
                <a:gd name="connsiteY11" fmla="*/ 6471 h 10000"/>
                <a:gd name="connsiteX12" fmla="*/ 1372 w 10000"/>
                <a:gd name="connsiteY12" fmla="*/ 6471 h 10000"/>
                <a:gd name="connsiteX13" fmla="*/ 338 w 10000"/>
                <a:gd name="connsiteY13" fmla="*/ 6471 h 10000"/>
                <a:gd name="connsiteX14" fmla="*/ 0 w 10000"/>
                <a:gd name="connsiteY14" fmla="*/ 5845 h 10000"/>
                <a:gd name="connsiteX15" fmla="*/ 338 w 10000"/>
                <a:gd name="connsiteY15" fmla="*/ 4705 h 10000"/>
                <a:gd name="connsiteX16" fmla="*/ 696 w 10000"/>
                <a:gd name="connsiteY16" fmla="*/ 3529 h 10000"/>
                <a:gd name="connsiteX17" fmla="*/ 1034 w 10000"/>
                <a:gd name="connsiteY17" fmla="*/ 2940 h 10000"/>
                <a:gd name="connsiteX18" fmla="*/ 696 w 10000"/>
                <a:gd name="connsiteY18" fmla="*/ 1176 h 10000"/>
                <a:gd name="connsiteX19" fmla="*/ 1372 w 10000"/>
                <a:gd name="connsiteY19" fmla="*/ 552 h 10000"/>
                <a:gd name="connsiteX20" fmla="*/ 2068 w 10000"/>
                <a:gd name="connsiteY20" fmla="*/ 552 h 10000"/>
                <a:gd name="connsiteX21" fmla="*/ 3101 w 10000"/>
                <a:gd name="connsiteY21" fmla="*/ 1176 h 10000"/>
                <a:gd name="connsiteX22" fmla="*/ 3439 w 10000"/>
                <a:gd name="connsiteY22" fmla="*/ 1176 h 10000"/>
                <a:gd name="connsiteX23" fmla="*/ 3817 w 10000"/>
                <a:gd name="connsiteY23" fmla="*/ 1176 h 10000"/>
                <a:gd name="connsiteX24" fmla="*/ 4155 w 10000"/>
                <a:gd name="connsiteY24" fmla="*/ 1176 h 10000"/>
                <a:gd name="connsiteX25" fmla="*/ 4851 w 10000"/>
                <a:gd name="connsiteY25" fmla="*/ 1176 h 10000"/>
                <a:gd name="connsiteX26" fmla="*/ 5189 w 10000"/>
                <a:gd name="connsiteY26" fmla="*/ 0 h 10000"/>
                <a:gd name="connsiteX27" fmla="*/ 5527 w 10000"/>
                <a:gd name="connsiteY27" fmla="*/ 0 h 10000"/>
                <a:gd name="connsiteX28" fmla="*/ 6561 w 10000"/>
                <a:gd name="connsiteY28" fmla="*/ 0 h 10000"/>
                <a:gd name="connsiteX29" fmla="*/ 6918 w 10000"/>
                <a:gd name="connsiteY29" fmla="*/ 552 h 10000"/>
                <a:gd name="connsiteX30" fmla="*/ 6561 w 10000"/>
                <a:gd name="connsiteY30" fmla="*/ 552 h 10000"/>
                <a:gd name="connsiteX31" fmla="*/ 6918 w 10000"/>
                <a:gd name="connsiteY31" fmla="*/ 1176 h 10000"/>
                <a:gd name="connsiteX32" fmla="*/ 7256 w 10000"/>
                <a:gd name="connsiteY32" fmla="*/ 1176 h 10000"/>
                <a:gd name="connsiteX33" fmla="*/ 7594 w 10000"/>
                <a:gd name="connsiteY33" fmla="*/ 2316 h 10000"/>
                <a:gd name="connsiteX34" fmla="*/ 7932 w 10000"/>
                <a:gd name="connsiteY34" fmla="*/ 2940 h 10000"/>
                <a:gd name="connsiteX35" fmla="*/ 8290 w 10000"/>
                <a:gd name="connsiteY35" fmla="*/ 2316 h 10000"/>
                <a:gd name="connsiteX36" fmla="*/ 10000 w 10000"/>
                <a:gd name="connsiteY36" fmla="*/ 4080 h 10000"/>
                <a:gd name="connsiteX37" fmla="*/ 9662 w 10000"/>
                <a:gd name="connsiteY37" fmla="*/ 6471 h 10000"/>
                <a:gd name="connsiteX38" fmla="*/ 9304 w 10000"/>
                <a:gd name="connsiteY38" fmla="*/ 5845 h 10000"/>
                <a:gd name="connsiteX39" fmla="*/ 8966 w 10000"/>
                <a:gd name="connsiteY39" fmla="*/ 6471 h 10000"/>
                <a:gd name="connsiteX40" fmla="*/ 8966 w 10000"/>
                <a:gd name="connsiteY40" fmla="*/ 7610 h 10000"/>
                <a:gd name="connsiteX41" fmla="*/ 8628 w 10000"/>
                <a:gd name="connsiteY41" fmla="*/ 7610 h 10000"/>
                <a:gd name="connsiteX42" fmla="*/ 6918 w 10000"/>
                <a:gd name="connsiteY42" fmla="*/ 9374 h 10000"/>
                <a:gd name="connsiteX43" fmla="*/ 7594 w 10000"/>
                <a:gd name="connsiteY43" fmla="*/ 10000 h 10000"/>
                <a:gd name="connsiteX44" fmla="*/ 6561 w 10000"/>
                <a:gd name="connsiteY44" fmla="*/ 9374 h 10000"/>
                <a:gd name="connsiteX45" fmla="*/ 5527 w 10000"/>
                <a:gd name="connsiteY45" fmla="*/ 8824 h 10000"/>
                <a:gd name="connsiteX46" fmla="*/ 5527 w 10000"/>
                <a:gd name="connsiteY46" fmla="*/ 8235 h 10000"/>
                <a:gd name="connsiteX47" fmla="*/ 4851 w 10000"/>
                <a:gd name="connsiteY47" fmla="*/ 8235 h 10000"/>
                <a:gd name="connsiteX48" fmla="*/ 4513 w 10000"/>
                <a:gd name="connsiteY48" fmla="*/ 9374 h 10000"/>
                <a:gd name="connsiteX49" fmla="*/ 4155 w 10000"/>
                <a:gd name="connsiteY49" fmla="*/ 9374 h 10000"/>
                <a:gd name="connsiteX50" fmla="*/ 4155 w 10000"/>
                <a:gd name="connsiteY50" fmla="*/ 10000 h 10000"/>
                <a:gd name="connsiteX0" fmla="*/ 4155 w 10000"/>
                <a:gd name="connsiteY0" fmla="*/ 10000 h 10000"/>
                <a:gd name="connsiteX1" fmla="*/ 4155 w 10000"/>
                <a:gd name="connsiteY1" fmla="*/ 10000 h 10000"/>
                <a:gd name="connsiteX2" fmla="*/ 3439 w 10000"/>
                <a:gd name="connsiteY2" fmla="*/ 10000 h 10000"/>
                <a:gd name="connsiteX3" fmla="*/ 3439 w 10000"/>
                <a:gd name="connsiteY3" fmla="*/ 9374 h 10000"/>
                <a:gd name="connsiteX4" fmla="*/ 3817 w 10000"/>
                <a:gd name="connsiteY4" fmla="*/ 8235 h 10000"/>
                <a:gd name="connsiteX5" fmla="*/ 4513 w 10000"/>
                <a:gd name="connsiteY5" fmla="*/ 8235 h 10000"/>
                <a:gd name="connsiteX6" fmla="*/ 4513 w 10000"/>
                <a:gd name="connsiteY6" fmla="*/ 7610 h 10000"/>
                <a:gd name="connsiteX7" fmla="*/ 4155 w 10000"/>
                <a:gd name="connsiteY7" fmla="*/ 6471 h 10000"/>
                <a:gd name="connsiteX8" fmla="*/ 4155 w 10000"/>
                <a:gd name="connsiteY8" fmla="*/ 5845 h 10000"/>
                <a:gd name="connsiteX9" fmla="*/ 3101 w 10000"/>
                <a:gd name="connsiteY9" fmla="*/ 5293 h 10000"/>
                <a:gd name="connsiteX10" fmla="*/ 2406 w 10000"/>
                <a:gd name="connsiteY10" fmla="*/ 5845 h 10000"/>
                <a:gd name="connsiteX11" fmla="*/ 1710 w 10000"/>
                <a:gd name="connsiteY11" fmla="*/ 6471 h 10000"/>
                <a:gd name="connsiteX12" fmla="*/ 1372 w 10000"/>
                <a:gd name="connsiteY12" fmla="*/ 6471 h 10000"/>
                <a:gd name="connsiteX13" fmla="*/ 338 w 10000"/>
                <a:gd name="connsiteY13" fmla="*/ 6471 h 10000"/>
                <a:gd name="connsiteX14" fmla="*/ 0 w 10000"/>
                <a:gd name="connsiteY14" fmla="*/ 5845 h 10000"/>
                <a:gd name="connsiteX15" fmla="*/ 338 w 10000"/>
                <a:gd name="connsiteY15" fmla="*/ 4705 h 10000"/>
                <a:gd name="connsiteX16" fmla="*/ 696 w 10000"/>
                <a:gd name="connsiteY16" fmla="*/ 3529 h 10000"/>
                <a:gd name="connsiteX17" fmla="*/ 1034 w 10000"/>
                <a:gd name="connsiteY17" fmla="*/ 2940 h 10000"/>
                <a:gd name="connsiteX18" fmla="*/ 696 w 10000"/>
                <a:gd name="connsiteY18" fmla="*/ 1176 h 10000"/>
                <a:gd name="connsiteX19" fmla="*/ 1372 w 10000"/>
                <a:gd name="connsiteY19" fmla="*/ 552 h 10000"/>
                <a:gd name="connsiteX20" fmla="*/ 2068 w 10000"/>
                <a:gd name="connsiteY20" fmla="*/ 552 h 10000"/>
                <a:gd name="connsiteX21" fmla="*/ 3101 w 10000"/>
                <a:gd name="connsiteY21" fmla="*/ 1176 h 10000"/>
                <a:gd name="connsiteX22" fmla="*/ 3439 w 10000"/>
                <a:gd name="connsiteY22" fmla="*/ 1176 h 10000"/>
                <a:gd name="connsiteX23" fmla="*/ 3817 w 10000"/>
                <a:gd name="connsiteY23" fmla="*/ 1176 h 10000"/>
                <a:gd name="connsiteX24" fmla="*/ 4155 w 10000"/>
                <a:gd name="connsiteY24" fmla="*/ 1176 h 10000"/>
                <a:gd name="connsiteX25" fmla="*/ 4851 w 10000"/>
                <a:gd name="connsiteY25" fmla="*/ 1176 h 10000"/>
                <a:gd name="connsiteX26" fmla="*/ 5189 w 10000"/>
                <a:gd name="connsiteY26" fmla="*/ 0 h 10000"/>
                <a:gd name="connsiteX27" fmla="*/ 5527 w 10000"/>
                <a:gd name="connsiteY27" fmla="*/ 0 h 10000"/>
                <a:gd name="connsiteX28" fmla="*/ 6561 w 10000"/>
                <a:gd name="connsiteY28" fmla="*/ 0 h 10000"/>
                <a:gd name="connsiteX29" fmla="*/ 6918 w 10000"/>
                <a:gd name="connsiteY29" fmla="*/ 552 h 10000"/>
                <a:gd name="connsiteX30" fmla="*/ 6561 w 10000"/>
                <a:gd name="connsiteY30" fmla="*/ 552 h 10000"/>
                <a:gd name="connsiteX31" fmla="*/ 6918 w 10000"/>
                <a:gd name="connsiteY31" fmla="*/ 1176 h 10000"/>
                <a:gd name="connsiteX32" fmla="*/ 7256 w 10000"/>
                <a:gd name="connsiteY32" fmla="*/ 1176 h 10000"/>
                <a:gd name="connsiteX33" fmla="*/ 7594 w 10000"/>
                <a:gd name="connsiteY33" fmla="*/ 2316 h 10000"/>
                <a:gd name="connsiteX34" fmla="*/ 7932 w 10000"/>
                <a:gd name="connsiteY34" fmla="*/ 2940 h 10000"/>
                <a:gd name="connsiteX35" fmla="*/ 8290 w 10000"/>
                <a:gd name="connsiteY35" fmla="*/ 2316 h 10000"/>
                <a:gd name="connsiteX36" fmla="*/ 10000 w 10000"/>
                <a:gd name="connsiteY36" fmla="*/ 4080 h 10000"/>
                <a:gd name="connsiteX37" fmla="*/ 9662 w 10000"/>
                <a:gd name="connsiteY37" fmla="*/ 6471 h 10000"/>
                <a:gd name="connsiteX38" fmla="*/ 9304 w 10000"/>
                <a:gd name="connsiteY38" fmla="*/ 5845 h 10000"/>
                <a:gd name="connsiteX39" fmla="*/ 8966 w 10000"/>
                <a:gd name="connsiteY39" fmla="*/ 6471 h 10000"/>
                <a:gd name="connsiteX40" fmla="*/ 8966 w 10000"/>
                <a:gd name="connsiteY40" fmla="*/ 7610 h 10000"/>
                <a:gd name="connsiteX41" fmla="*/ 8628 w 10000"/>
                <a:gd name="connsiteY41" fmla="*/ 7610 h 10000"/>
                <a:gd name="connsiteX42" fmla="*/ 6918 w 10000"/>
                <a:gd name="connsiteY42" fmla="*/ 9374 h 10000"/>
                <a:gd name="connsiteX43" fmla="*/ 6561 w 10000"/>
                <a:gd name="connsiteY43" fmla="*/ 9374 h 10000"/>
                <a:gd name="connsiteX44" fmla="*/ 5527 w 10000"/>
                <a:gd name="connsiteY44" fmla="*/ 8824 h 10000"/>
                <a:gd name="connsiteX45" fmla="*/ 5527 w 10000"/>
                <a:gd name="connsiteY45" fmla="*/ 8235 h 10000"/>
                <a:gd name="connsiteX46" fmla="*/ 4851 w 10000"/>
                <a:gd name="connsiteY46" fmla="*/ 8235 h 10000"/>
                <a:gd name="connsiteX47" fmla="*/ 4513 w 10000"/>
                <a:gd name="connsiteY47" fmla="*/ 9374 h 10000"/>
                <a:gd name="connsiteX48" fmla="*/ 4155 w 10000"/>
                <a:gd name="connsiteY48" fmla="*/ 9374 h 10000"/>
                <a:gd name="connsiteX49" fmla="*/ 4155 w 10000"/>
                <a:gd name="connsiteY49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0000" h="10000">
                  <a:moveTo>
                    <a:pt x="4155" y="10000"/>
                  </a:moveTo>
                  <a:lnTo>
                    <a:pt x="4155" y="10000"/>
                  </a:lnTo>
                  <a:lnTo>
                    <a:pt x="3439" y="10000"/>
                  </a:lnTo>
                  <a:lnTo>
                    <a:pt x="3439" y="9374"/>
                  </a:lnTo>
                  <a:lnTo>
                    <a:pt x="3817" y="8235"/>
                  </a:lnTo>
                  <a:lnTo>
                    <a:pt x="4513" y="8235"/>
                  </a:lnTo>
                  <a:lnTo>
                    <a:pt x="4513" y="7610"/>
                  </a:lnTo>
                  <a:cubicBezTo>
                    <a:pt x="4394" y="7230"/>
                    <a:pt x="4274" y="6851"/>
                    <a:pt x="4155" y="6471"/>
                  </a:cubicBezTo>
                  <a:lnTo>
                    <a:pt x="4155" y="5845"/>
                  </a:lnTo>
                  <a:lnTo>
                    <a:pt x="3101" y="5293"/>
                  </a:lnTo>
                  <a:lnTo>
                    <a:pt x="2406" y="5845"/>
                  </a:lnTo>
                  <a:lnTo>
                    <a:pt x="1710" y="6471"/>
                  </a:lnTo>
                  <a:lnTo>
                    <a:pt x="1372" y="6471"/>
                  </a:lnTo>
                  <a:lnTo>
                    <a:pt x="338" y="6471"/>
                  </a:lnTo>
                  <a:lnTo>
                    <a:pt x="0" y="5845"/>
                  </a:lnTo>
                  <a:cubicBezTo>
                    <a:pt x="113" y="5466"/>
                    <a:pt x="225" y="5085"/>
                    <a:pt x="338" y="4705"/>
                  </a:cubicBezTo>
                  <a:lnTo>
                    <a:pt x="696" y="3529"/>
                  </a:lnTo>
                  <a:lnTo>
                    <a:pt x="1034" y="2940"/>
                  </a:lnTo>
                  <a:cubicBezTo>
                    <a:pt x="921" y="2353"/>
                    <a:pt x="809" y="1764"/>
                    <a:pt x="696" y="1176"/>
                  </a:cubicBezTo>
                  <a:lnTo>
                    <a:pt x="1372" y="552"/>
                  </a:lnTo>
                  <a:lnTo>
                    <a:pt x="2068" y="552"/>
                  </a:lnTo>
                  <a:lnTo>
                    <a:pt x="3101" y="1176"/>
                  </a:lnTo>
                  <a:lnTo>
                    <a:pt x="3439" y="1176"/>
                  </a:lnTo>
                  <a:lnTo>
                    <a:pt x="3817" y="1176"/>
                  </a:lnTo>
                  <a:lnTo>
                    <a:pt x="4155" y="1176"/>
                  </a:lnTo>
                  <a:lnTo>
                    <a:pt x="4851" y="1176"/>
                  </a:lnTo>
                  <a:cubicBezTo>
                    <a:pt x="4964" y="785"/>
                    <a:pt x="5076" y="392"/>
                    <a:pt x="5189" y="0"/>
                  </a:cubicBezTo>
                  <a:lnTo>
                    <a:pt x="5527" y="0"/>
                  </a:lnTo>
                  <a:lnTo>
                    <a:pt x="6561" y="0"/>
                  </a:lnTo>
                  <a:lnTo>
                    <a:pt x="6918" y="552"/>
                  </a:lnTo>
                  <a:lnTo>
                    <a:pt x="6561" y="552"/>
                  </a:lnTo>
                  <a:lnTo>
                    <a:pt x="6918" y="1176"/>
                  </a:lnTo>
                  <a:lnTo>
                    <a:pt x="7256" y="1176"/>
                  </a:lnTo>
                  <a:lnTo>
                    <a:pt x="7594" y="2316"/>
                  </a:lnTo>
                  <a:lnTo>
                    <a:pt x="7932" y="2940"/>
                  </a:lnTo>
                  <a:lnTo>
                    <a:pt x="8290" y="2316"/>
                  </a:lnTo>
                  <a:lnTo>
                    <a:pt x="10000" y="4080"/>
                  </a:lnTo>
                  <a:cubicBezTo>
                    <a:pt x="9887" y="4877"/>
                    <a:pt x="9775" y="5674"/>
                    <a:pt x="9662" y="6471"/>
                  </a:cubicBezTo>
                  <a:lnTo>
                    <a:pt x="9304" y="5845"/>
                  </a:lnTo>
                  <a:lnTo>
                    <a:pt x="8966" y="6471"/>
                  </a:lnTo>
                  <a:lnTo>
                    <a:pt x="8966" y="7610"/>
                  </a:lnTo>
                  <a:lnTo>
                    <a:pt x="8628" y="7610"/>
                  </a:lnTo>
                  <a:lnTo>
                    <a:pt x="6918" y="9374"/>
                  </a:lnTo>
                  <a:lnTo>
                    <a:pt x="6561" y="9374"/>
                  </a:lnTo>
                  <a:lnTo>
                    <a:pt x="5527" y="8824"/>
                  </a:lnTo>
                  <a:lnTo>
                    <a:pt x="5527" y="8235"/>
                  </a:lnTo>
                  <a:lnTo>
                    <a:pt x="4851" y="8235"/>
                  </a:lnTo>
                  <a:lnTo>
                    <a:pt x="4513" y="9374"/>
                  </a:lnTo>
                  <a:lnTo>
                    <a:pt x="4155" y="9374"/>
                  </a:lnTo>
                  <a:lnTo>
                    <a:pt x="4155" y="10000"/>
                  </a:lnTo>
                  <a:close/>
                </a:path>
              </a:pathLst>
            </a:custGeom>
            <a:solidFill>
              <a:srgbClr val="70AD47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656" name="Freeform 318">
              <a:extLst>
                <a:ext uri="{FF2B5EF4-FFF2-40B4-BE49-F238E27FC236}">
                  <a16:creationId xmlns:a16="http://schemas.microsoft.com/office/drawing/2014/main" id="{9E696DDD-3F71-4CA1-9B29-1CC7B8880F83}"/>
                </a:ext>
              </a:extLst>
            </p:cNvPr>
            <p:cNvSpPr/>
            <p:nvPr/>
          </p:nvSpPr>
          <p:spPr bwMode="auto">
            <a:xfrm>
              <a:off x="5419722" y="3611724"/>
              <a:ext cx="83352" cy="45720"/>
            </a:xfrm>
            <a:custGeom>
              <a:avLst/>
              <a:gdLst>
                <a:gd name="connsiteX0" fmla="*/ 111919 w 188119"/>
                <a:gd name="connsiteY0" fmla="*/ 0 h 109537"/>
                <a:gd name="connsiteX1" fmla="*/ 188119 w 188119"/>
                <a:gd name="connsiteY1" fmla="*/ 40481 h 109537"/>
                <a:gd name="connsiteX2" fmla="*/ 78582 w 188119"/>
                <a:gd name="connsiteY2" fmla="*/ 104775 h 109537"/>
                <a:gd name="connsiteX3" fmla="*/ 42863 w 188119"/>
                <a:gd name="connsiteY3" fmla="*/ 109537 h 109537"/>
                <a:gd name="connsiteX4" fmla="*/ 45244 w 188119"/>
                <a:gd name="connsiteY4" fmla="*/ 73818 h 109537"/>
                <a:gd name="connsiteX5" fmla="*/ 0 w 188119"/>
                <a:gd name="connsiteY5" fmla="*/ 42862 h 109537"/>
                <a:gd name="connsiteX6" fmla="*/ 111919 w 188119"/>
                <a:gd name="connsiteY6" fmla="*/ 0 h 109537"/>
                <a:gd name="connsiteX0" fmla="*/ 54769 w 188119"/>
                <a:gd name="connsiteY0" fmla="*/ 0 h 103186"/>
                <a:gd name="connsiteX1" fmla="*/ 188119 w 188119"/>
                <a:gd name="connsiteY1" fmla="*/ 34130 h 103186"/>
                <a:gd name="connsiteX2" fmla="*/ 78582 w 188119"/>
                <a:gd name="connsiteY2" fmla="*/ 98424 h 103186"/>
                <a:gd name="connsiteX3" fmla="*/ 42863 w 188119"/>
                <a:gd name="connsiteY3" fmla="*/ 103186 h 103186"/>
                <a:gd name="connsiteX4" fmla="*/ 45244 w 188119"/>
                <a:gd name="connsiteY4" fmla="*/ 67467 h 103186"/>
                <a:gd name="connsiteX5" fmla="*/ 0 w 188119"/>
                <a:gd name="connsiteY5" fmla="*/ 36511 h 103186"/>
                <a:gd name="connsiteX6" fmla="*/ 54769 w 188119"/>
                <a:gd name="connsiteY6" fmla="*/ 0 h 103186"/>
                <a:gd name="connsiteX0" fmla="*/ 61913 w 188119"/>
                <a:gd name="connsiteY0" fmla="*/ 0 h 103186"/>
                <a:gd name="connsiteX1" fmla="*/ 188119 w 188119"/>
                <a:gd name="connsiteY1" fmla="*/ 34130 h 103186"/>
                <a:gd name="connsiteX2" fmla="*/ 78582 w 188119"/>
                <a:gd name="connsiteY2" fmla="*/ 98424 h 103186"/>
                <a:gd name="connsiteX3" fmla="*/ 42863 w 188119"/>
                <a:gd name="connsiteY3" fmla="*/ 103186 h 103186"/>
                <a:gd name="connsiteX4" fmla="*/ 45244 w 188119"/>
                <a:gd name="connsiteY4" fmla="*/ 67467 h 103186"/>
                <a:gd name="connsiteX5" fmla="*/ 0 w 188119"/>
                <a:gd name="connsiteY5" fmla="*/ 36511 h 103186"/>
                <a:gd name="connsiteX6" fmla="*/ 61913 w 188119"/>
                <a:gd name="connsiteY6" fmla="*/ 0 h 103186"/>
                <a:gd name="connsiteX0" fmla="*/ 61913 w 188119"/>
                <a:gd name="connsiteY0" fmla="*/ 0 h 103186"/>
                <a:gd name="connsiteX1" fmla="*/ 116682 w 188119"/>
                <a:gd name="connsiteY1" fmla="*/ 3173 h 103186"/>
                <a:gd name="connsiteX2" fmla="*/ 188119 w 188119"/>
                <a:gd name="connsiteY2" fmla="*/ 34130 h 103186"/>
                <a:gd name="connsiteX3" fmla="*/ 78582 w 188119"/>
                <a:gd name="connsiteY3" fmla="*/ 98424 h 103186"/>
                <a:gd name="connsiteX4" fmla="*/ 42863 w 188119"/>
                <a:gd name="connsiteY4" fmla="*/ 103186 h 103186"/>
                <a:gd name="connsiteX5" fmla="*/ 45244 w 188119"/>
                <a:gd name="connsiteY5" fmla="*/ 67467 h 103186"/>
                <a:gd name="connsiteX6" fmla="*/ 0 w 188119"/>
                <a:gd name="connsiteY6" fmla="*/ 36511 h 103186"/>
                <a:gd name="connsiteX7" fmla="*/ 61913 w 188119"/>
                <a:gd name="connsiteY7" fmla="*/ 0 h 10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119" h="103186">
                  <a:moveTo>
                    <a:pt x="61913" y="0"/>
                  </a:moveTo>
                  <a:lnTo>
                    <a:pt x="116682" y="3173"/>
                  </a:lnTo>
                  <a:lnTo>
                    <a:pt x="188119" y="34130"/>
                  </a:lnTo>
                  <a:lnTo>
                    <a:pt x="78582" y="98424"/>
                  </a:lnTo>
                  <a:lnTo>
                    <a:pt x="42863" y="103186"/>
                  </a:lnTo>
                  <a:lnTo>
                    <a:pt x="45244" y="67467"/>
                  </a:lnTo>
                  <a:lnTo>
                    <a:pt x="0" y="36511"/>
                  </a:lnTo>
                  <a:lnTo>
                    <a:pt x="61913" y="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pic>
        <p:nvPicPr>
          <p:cNvPr id="358" name="Объект 8">
            <a:extLst>
              <a:ext uri="{FF2B5EF4-FFF2-40B4-BE49-F238E27FC236}">
                <a16:creationId xmlns:a16="http://schemas.microsoft.com/office/drawing/2014/main" id="{A253380C-B0E1-49BD-9A53-A41966A389F3}"/>
              </a:ext>
            </a:extLst>
          </p:cNvPr>
          <p:cNvPicPr>
            <a:picLocks noChangeAspect="1"/>
          </p:cNvPicPr>
          <p:nvPr/>
        </p:nvPicPr>
        <p:blipFill rotWithShape="1">
          <a:blip r:embed="rId3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517"/>
          <a:stretch/>
        </p:blipFill>
        <p:spPr>
          <a:xfrm>
            <a:off x="7881881" y="2394808"/>
            <a:ext cx="216370" cy="195683"/>
          </a:xfrm>
          <a:prstGeom prst="rect">
            <a:avLst/>
          </a:prstGeom>
        </p:spPr>
      </p:pic>
      <p:sp>
        <p:nvSpPr>
          <p:cNvPr id="328" name="Заголовок 1">
            <a:extLst>
              <a:ext uri="{FF2B5EF4-FFF2-40B4-BE49-F238E27FC236}">
                <a16:creationId xmlns:a16="http://schemas.microsoft.com/office/drawing/2014/main" id="{A3CC8391-FE7A-4FCF-B403-B4D9E2DEB93F}"/>
              </a:ext>
            </a:extLst>
          </p:cNvPr>
          <p:cNvSpPr txBox="1">
            <a:spLocks/>
          </p:cNvSpPr>
          <p:nvPr/>
        </p:nvSpPr>
        <p:spPr>
          <a:xfrm>
            <a:off x="321976" y="2342727"/>
            <a:ext cx="283545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ym typeface="Roboto" pitchFamily="2" charset="0"/>
              </a:rPr>
              <a:t>Покупатели молочной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продукции</a:t>
            </a:r>
          </a:p>
        </p:txBody>
      </p:sp>
      <p:sp>
        <p:nvSpPr>
          <p:cNvPr id="330" name="Block Arc 41">
            <a:extLst>
              <a:ext uri="{FF2B5EF4-FFF2-40B4-BE49-F238E27FC236}">
                <a16:creationId xmlns:a16="http://schemas.microsoft.com/office/drawing/2014/main" id="{B8E0CEDD-45A2-4588-A7A0-66C4120DADDB}"/>
              </a:ext>
            </a:extLst>
          </p:cNvPr>
          <p:cNvSpPr/>
          <p:nvPr/>
        </p:nvSpPr>
        <p:spPr>
          <a:xfrm>
            <a:off x="911424" y="4833156"/>
            <a:ext cx="533968" cy="703020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31" name="Прямоугольник 330">
            <a:extLst>
              <a:ext uri="{FF2B5EF4-FFF2-40B4-BE49-F238E27FC236}">
                <a16:creationId xmlns:a16="http://schemas.microsoft.com/office/drawing/2014/main" id="{D3BF5F83-B6E7-4FB4-AF74-C4E02896B8C7}"/>
              </a:ext>
            </a:extLst>
          </p:cNvPr>
          <p:cNvSpPr/>
          <p:nvPr/>
        </p:nvSpPr>
        <p:spPr>
          <a:xfrm>
            <a:off x="2806827" y="5670266"/>
            <a:ext cx="866114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19137" latinLnBrk="1">
              <a:defRPr/>
            </a:pPr>
            <a:r>
              <a:rPr lang="ru-RU" b="1" spc="-1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На БУТБ аккредитованы </a:t>
            </a:r>
            <a:r>
              <a:rPr lang="ru-RU" sz="3600" b="1" spc="-100" dirty="0">
                <a:solidFill>
                  <a:srgbClr val="649941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ВСЕ</a:t>
            </a:r>
            <a:r>
              <a:rPr lang="ru-RU" b="1" spc="-1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 молокоперерабатывающие </a:t>
            </a:r>
          </a:p>
          <a:p>
            <a:pPr lvl="0" defTabSz="1219137" latinLnBrk="1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предприятия Республики Беларусь</a:t>
            </a:r>
          </a:p>
        </p:txBody>
      </p:sp>
      <p:cxnSp>
        <p:nvCxnSpPr>
          <p:cNvPr id="332" name="Прямая соединительная линия 331">
            <a:extLst>
              <a:ext uri="{FF2B5EF4-FFF2-40B4-BE49-F238E27FC236}">
                <a16:creationId xmlns:a16="http://schemas.microsoft.com/office/drawing/2014/main" id="{1BCCBD23-FA34-44CB-A638-EAB3FF4ED8EB}"/>
              </a:ext>
            </a:extLst>
          </p:cNvPr>
          <p:cNvCxnSpPr>
            <a:cxnSpLocks/>
          </p:cNvCxnSpPr>
          <p:nvPr/>
        </p:nvCxnSpPr>
        <p:spPr>
          <a:xfrm>
            <a:off x="2642817" y="5634182"/>
            <a:ext cx="0" cy="1124479"/>
          </a:xfrm>
          <a:prstGeom prst="line">
            <a:avLst/>
          </a:prstGeom>
          <a:ln w="79375">
            <a:solidFill>
              <a:srgbClr val="A4D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Freeform 202">
            <a:extLst>
              <a:ext uri="{FF2B5EF4-FFF2-40B4-BE49-F238E27FC236}">
                <a16:creationId xmlns:a16="http://schemas.microsoft.com/office/drawing/2014/main" id="{D0A4AC61-E89A-4961-82C6-D923A7AAD9EB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407887" y="3093554"/>
            <a:ext cx="174106" cy="72846"/>
          </a:xfrm>
          <a:custGeom>
            <a:avLst/>
            <a:gdLst>
              <a:gd name="T0" fmla="*/ 10319 w 192"/>
              <a:gd name="T1" fmla="*/ 12902 h 63"/>
              <a:gd name="T2" fmla="*/ 10319 w 192"/>
              <a:gd name="T3" fmla="*/ 12902 h 63"/>
              <a:gd name="T4" fmla="*/ 10319 w 192"/>
              <a:gd name="T5" fmla="*/ 9676 h 63"/>
              <a:gd name="T6" fmla="*/ 10319 w 192"/>
              <a:gd name="T7" fmla="*/ 6451 h 63"/>
              <a:gd name="T8" fmla="*/ 0 w 192"/>
              <a:gd name="T9" fmla="*/ 0 h 63"/>
              <a:gd name="T10" fmla="*/ 17463 w 192"/>
              <a:gd name="T11" fmla="*/ 0 h 63"/>
              <a:gd name="T12" fmla="*/ 23812 w 192"/>
              <a:gd name="T13" fmla="*/ 3225 h 63"/>
              <a:gd name="T14" fmla="*/ 31750 w 192"/>
              <a:gd name="T15" fmla="*/ 3225 h 63"/>
              <a:gd name="T16" fmla="*/ 38100 w 192"/>
              <a:gd name="T17" fmla="*/ 9676 h 63"/>
              <a:gd name="T18" fmla="*/ 34925 w 192"/>
              <a:gd name="T19" fmla="*/ 9676 h 63"/>
              <a:gd name="T20" fmla="*/ 38100 w 192"/>
              <a:gd name="T21" fmla="*/ 12902 h 63"/>
              <a:gd name="T22" fmla="*/ 31750 w 192"/>
              <a:gd name="T23" fmla="*/ 12902 h 63"/>
              <a:gd name="T24" fmla="*/ 27781 w 192"/>
              <a:gd name="T25" fmla="*/ 12902 h 63"/>
              <a:gd name="T26" fmla="*/ 20637 w 192"/>
              <a:gd name="T27" fmla="*/ 12902 h 63"/>
              <a:gd name="T28" fmla="*/ 10319 w 192"/>
              <a:gd name="T29" fmla="*/ 12902 h 6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92"/>
              <a:gd name="T46" fmla="*/ 0 h 63"/>
              <a:gd name="T47" fmla="*/ 192 w 192"/>
              <a:gd name="T48" fmla="*/ 63 h 6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92" h="63">
                <a:moveTo>
                  <a:pt x="54" y="63"/>
                </a:moveTo>
                <a:lnTo>
                  <a:pt x="54" y="63"/>
                </a:lnTo>
                <a:lnTo>
                  <a:pt x="54" y="48"/>
                </a:lnTo>
                <a:lnTo>
                  <a:pt x="54" y="32"/>
                </a:lnTo>
                <a:lnTo>
                  <a:pt x="0" y="0"/>
                </a:lnTo>
                <a:lnTo>
                  <a:pt x="88" y="0"/>
                </a:lnTo>
                <a:lnTo>
                  <a:pt x="123" y="15"/>
                </a:lnTo>
                <a:lnTo>
                  <a:pt x="157" y="15"/>
                </a:lnTo>
                <a:lnTo>
                  <a:pt x="192" y="48"/>
                </a:lnTo>
                <a:lnTo>
                  <a:pt x="175" y="48"/>
                </a:lnTo>
                <a:lnTo>
                  <a:pt x="192" y="63"/>
                </a:lnTo>
                <a:lnTo>
                  <a:pt x="157" y="63"/>
                </a:lnTo>
                <a:lnTo>
                  <a:pt x="140" y="63"/>
                </a:lnTo>
                <a:lnTo>
                  <a:pt x="105" y="63"/>
                </a:lnTo>
                <a:lnTo>
                  <a:pt x="54" y="63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ysClr val="window" lastClr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34" name="Freeform 202">
            <a:extLst>
              <a:ext uri="{FF2B5EF4-FFF2-40B4-BE49-F238E27FC236}">
                <a16:creationId xmlns:a16="http://schemas.microsoft.com/office/drawing/2014/main" id="{81E9142A-A55E-4419-8BC7-4086BFA7525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560287" y="3245954"/>
            <a:ext cx="174106" cy="72846"/>
          </a:xfrm>
          <a:custGeom>
            <a:avLst/>
            <a:gdLst>
              <a:gd name="T0" fmla="*/ 10319 w 192"/>
              <a:gd name="T1" fmla="*/ 12902 h 63"/>
              <a:gd name="T2" fmla="*/ 10319 w 192"/>
              <a:gd name="T3" fmla="*/ 12902 h 63"/>
              <a:gd name="T4" fmla="*/ 10319 w 192"/>
              <a:gd name="T5" fmla="*/ 9676 h 63"/>
              <a:gd name="T6" fmla="*/ 10319 w 192"/>
              <a:gd name="T7" fmla="*/ 6451 h 63"/>
              <a:gd name="T8" fmla="*/ 0 w 192"/>
              <a:gd name="T9" fmla="*/ 0 h 63"/>
              <a:gd name="T10" fmla="*/ 17463 w 192"/>
              <a:gd name="T11" fmla="*/ 0 h 63"/>
              <a:gd name="T12" fmla="*/ 23812 w 192"/>
              <a:gd name="T13" fmla="*/ 3225 h 63"/>
              <a:gd name="T14" fmla="*/ 31750 w 192"/>
              <a:gd name="T15" fmla="*/ 3225 h 63"/>
              <a:gd name="T16" fmla="*/ 38100 w 192"/>
              <a:gd name="T17" fmla="*/ 9676 h 63"/>
              <a:gd name="T18" fmla="*/ 34925 w 192"/>
              <a:gd name="T19" fmla="*/ 9676 h 63"/>
              <a:gd name="T20" fmla="*/ 38100 w 192"/>
              <a:gd name="T21" fmla="*/ 12902 h 63"/>
              <a:gd name="T22" fmla="*/ 31750 w 192"/>
              <a:gd name="T23" fmla="*/ 12902 h 63"/>
              <a:gd name="T24" fmla="*/ 27781 w 192"/>
              <a:gd name="T25" fmla="*/ 12902 h 63"/>
              <a:gd name="T26" fmla="*/ 20637 w 192"/>
              <a:gd name="T27" fmla="*/ 12902 h 63"/>
              <a:gd name="T28" fmla="*/ 10319 w 192"/>
              <a:gd name="T29" fmla="*/ 12902 h 6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92"/>
              <a:gd name="T46" fmla="*/ 0 h 63"/>
              <a:gd name="T47" fmla="*/ 192 w 192"/>
              <a:gd name="T48" fmla="*/ 63 h 6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92" h="63">
                <a:moveTo>
                  <a:pt x="54" y="63"/>
                </a:moveTo>
                <a:lnTo>
                  <a:pt x="54" y="63"/>
                </a:lnTo>
                <a:lnTo>
                  <a:pt x="54" y="48"/>
                </a:lnTo>
                <a:lnTo>
                  <a:pt x="54" y="32"/>
                </a:lnTo>
                <a:lnTo>
                  <a:pt x="0" y="0"/>
                </a:lnTo>
                <a:lnTo>
                  <a:pt x="88" y="0"/>
                </a:lnTo>
                <a:lnTo>
                  <a:pt x="123" y="15"/>
                </a:lnTo>
                <a:lnTo>
                  <a:pt x="157" y="15"/>
                </a:lnTo>
                <a:lnTo>
                  <a:pt x="192" y="48"/>
                </a:lnTo>
                <a:lnTo>
                  <a:pt x="175" y="48"/>
                </a:lnTo>
                <a:lnTo>
                  <a:pt x="192" y="63"/>
                </a:lnTo>
                <a:lnTo>
                  <a:pt x="157" y="63"/>
                </a:lnTo>
                <a:lnTo>
                  <a:pt x="140" y="63"/>
                </a:lnTo>
                <a:lnTo>
                  <a:pt x="105" y="63"/>
                </a:lnTo>
                <a:lnTo>
                  <a:pt x="54" y="63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ysClr val="window" lastClr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57" name="Овал 656">
            <a:extLst>
              <a:ext uri="{FF2B5EF4-FFF2-40B4-BE49-F238E27FC236}">
                <a16:creationId xmlns:a16="http://schemas.microsoft.com/office/drawing/2014/main" id="{96097A6C-2D06-4E4F-A745-857A2AF8C65E}"/>
              </a:ext>
            </a:extLst>
          </p:cNvPr>
          <p:cNvSpPr/>
          <p:nvPr/>
        </p:nvSpPr>
        <p:spPr>
          <a:xfrm>
            <a:off x="9813747" y="4243087"/>
            <a:ext cx="45719" cy="45719"/>
          </a:xfrm>
          <a:prstGeom prst="ellips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8916788-BAA4-4D55-BAAA-C8721CA31A2B}"/>
              </a:ext>
            </a:extLst>
          </p:cNvPr>
          <p:cNvSpPr/>
          <p:nvPr/>
        </p:nvSpPr>
        <p:spPr>
          <a:xfrm>
            <a:off x="4185750" y="3712746"/>
            <a:ext cx="7714537" cy="1799320"/>
          </a:xfrm>
          <a:prstGeom prst="rect">
            <a:avLst/>
          </a:prstGeom>
          <a:solidFill>
            <a:schemeClr val="tx1">
              <a:lumMod val="75000"/>
              <a:lumOff val="2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3" name="Прямоугольник 352">
            <a:extLst>
              <a:ext uri="{FF2B5EF4-FFF2-40B4-BE49-F238E27FC236}">
                <a16:creationId xmlns:a16="http://schemas.microsoft.com/office/drawing/2014/main" id="{E916D0EB-F24F-4705-A9A6-9A521D2DFE3F}"/>
              </a:ext>
            </a:extLst>
          </p:cNvPr>
          <p:cNvSpPr/>
          <p:nvPr/>
        </p:nvSpPr>
        <p:spPr>
          <a:xfrm>
            <a:off x="4352089" y="3888524"/>
            <a:ext cx="75401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19137" latinLnBrk="1">
              <a:defRPr/>
            </a:pPr>
            <a:r>
              <a:rPr lang="ru-RU" sz="2000" b="1" spc="-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sym typeface="Roboto" pitchFamily="2" charset="0"/>
              </a:rPr>
              <a:t>В торгах молочной продукцией </a:t>
            </a:r>
            <a:r>
              <a:rPr lang="ru-RU" sz="2000" b="1" spc="-100" dirty="0">
                <a:solidFill>
                  <a:schemeClr val="accent4"/>
                </a:solidFill>
                <a:latin typeface="Arial" panose="020B0604020202020204" pitchFamily="34" charset="0"/>
                <a:sym typeface="Roboto" pitchFamily="2" charset="0"/>
              </a:rPr>
              <a:t>регулярно</a:t>
            </a:r>
            <a:r>
              <a:rPr lang="ru-RU" sz="2000" b="1" spc="-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sym typeface="Roboto" pitchFamily="2" charset="0"/>
              </a:rPr>
              <a:t> </a:t>
            </a:r>
            <a:r>
              <a:rPr lang="ru-RU" sz="2000" b="1" spc="-100" dirty="0">
                <a:solidFill>
                  <a:schemeClr val="accent4"/>
                </a:solidFill>
                <a:latin typeface="Arial" panose="020B0604020202020204" pitchFamily="34" charset="0"/>
                <a:sym typeface="Roboto" pitchFamily="2" charset="0"/>
              </a:rPr>
              <a:t>участвуют</a:t>
            </a:r>
            <a:r>
              <a:rPr lang="ru-RU" sz="2000" b="1" spc="-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sym typeface="Roboto" pitchFamily="2" charset="0"/>
              </a:rPr>
              <a:t> </a:t>
            </a:r>
            <a:br>
              <a:rPr lang="ru-RU" sz="2000" b="1" spc="-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sym typeface="Roboto" pitchFamily="2" charset="0"/>
              </a:rPr>
            </a:br>
            <a:r>
              <a:rPr lang="ru-RU" sz="2000" b="1" spc="-100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sym typeface="Roboto" pitchFamily="2" charset="0"/>
              </a:rPr>
              <a:t>покупатели из</a:t>
            </a:r>
            <a:r>
              <a:rPr lang="ru-RU" sz="2000" b="1" spc="-100" dirty="0">
                <a:solidFill>
                  <a:schemeClr val="bg1"/>
                </a:solidFill>
                <a:latin typeface="Arial" panose="020B0604020202020204" pitchFamily="34" charset="0"/>
                <a:sym typeface="Roboto" pitchFamily="2" charset="0"/>
              </a:rPr>
              <a:t> Российской Федерации, Казахстана, </a:t>
            </a:r>
          </a:p>
          <a:p>
            <a:pPr lvl="0" defTabSz="1219137" latinLnBrk="1">
              <a:defRPr/>
            </a:pPr>
            <a:r>
              <a:rPr lang="ru-RU" sz="2000" b="1" spc="-100" dirty="0">
                <a:solidFill>
                  <a:schemeClr val="bg1"/>
                </a:solidFill>
                <a:latin typeface="Arial" panose="020B0604020202020204" pitchFamily="34" charset="0"/>
                <a:sym typeface="Roboto" pitchFamily="2" charset="0"/>
              </a:rPr>
              <a:t>Армении, Молдавии, Литвы, Польши, Германии,   </a:t>
            </a:r>
          </a:p>
          <a:p>
            <a:pPr lvl="0" defTabSz="1219137" latinLnBrk="1">
              <a:defRPr/>
            </a:pPr>
            <a:r>
              <a:rPr lang="ru-RU" sz="2000" b="1" spc="-100" dirty="0">
                <a:solidFill>
                  <a:schemeClr val="bg1"/>
                </a:solidFill>
                <a:latin typeface="Arial" panose="020B0604020202020204" pitchFamily="34" charset="0"/>
                <a:sym typeface="Roboto" pitchFamily="2" charset="0"/>
              </a:rPr>
              <a:t>Великобритании, США, Сингапура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sym typeface="Roboto" pitchFamily="2" charset="0"/>
            </a:endParaRPr>
          </a:p>
        </p:txBody>
      </p:sp>
      <p:sp>
        <p:nvSpPr>
          <p:cNvPr id="354" name="Прямоугольник 353">
            <a:extLst>
              <a:ext uri="{FF2B5EF4-FFF2-40B4-BE49-F238E27FC236}">
                <a16:creationId xmlns:a16="http://schemas.microsoft.com/office/drawing/2014/main" id="{827E73AB-CF03-46B0-91C6-7E1317F9A7D0}"/>
              </a:ext>
            </a:extLst>
          </p:cNvPr>
          <p:cNvSpPr/>
          <p:nvPr/>
        </p:nvSpPr>
        <p:spPr>
          <a:xfrm>
            <a:off x="3845989" y="419926"/>
            <a:ext cx="8068164" cy="92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19137" latinLnBrk="1">
              <a:lnSpc>
                <a:spcPct val="80000"/>
              </a:lnSpc>
              <a:defRPr/>
            </a:pPr>
            <a:r>
              <a:rPr lang="ru-RU" sz="2800" b="1" spc="-1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География экспорта молочной продукции РБ </a:t>
            </a:r>
          </a:p>
          <a:p>
            <a:pPr lvl="0" defTabSz="1219137" latinLnBrk="1">
              <a:lnSpc>
                <a:spcPct val="80000"/>
              </a:lnSpc>
              <a:defRPr/>
            </a:pPr>
            <a:r>
              <a:rPr lang="ru-RU" sz="4000" b="1" spc="-100" dirty="0">
                <a:solidFill>
                  <a:srgbClr val="649941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58 стран</a:t>
            </a:r>
          </a:p>
        </p:txBody>
      </p:sp>
      <p:cxnSp>
        <p:nvCxnSpPr>
          <p:cNvPr id="355" name="Прямая соединительная линия 354">
            <a:extLst>
              <a:ext uri="{FF2B5EF4-FFF2-40B4-BE49-F238E27FC236}">
                <a16:creationId xmlns:a16="http://schemas.microsoft.com/office/drawing/2014/main" id="{0BC611C5-40F3-4253-80FD-939EFE62394D}"/>
              </a:ext>
            </a:extLst>
          </p:cNvPr>
          <p:cNvCxnSpPr>
            <a:cxnSpLocks/>
          </p:cNvCxnSpPr>
          <p:nvPr/>
        </p:nvCxnSpPr>
        <p:spPr>
          <a:xfrm>
            <a:off x="3805058" y="424177"/>
            <a:ext cx="0" cy="867242"/>
          </a:xfrm>
          <a:prstGeom prst="line">
            <a:avLst/>
          </a:prstGeom>
          <a:ln w="79375">
            <a:solidFill>
              <a:srgbClr val="A4D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34761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6699" y="2101290"/>
            <a:ext cx="2919009" cy="1095507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Республика Беларусь</a:t>
            </a:r>
          </a:p>
        </p:txBody>
      </p:sp>
      <p:grpSp>
        <p:nvGrpSpPr>
          <p:cNvPr id="15" name="Google Shape;15201;p81"/>
          <p:cNvGrpSpPr/>
          <p:nvPr/>
        </p:nvGrpSpPr>
        <p:grpSpPr>
          <a:xfrm>
            <a:off x="849633" y="4872527"/>
            <a:ext cx="677780" cy="679581"/>
            <a:chOff x="-1333200" y="2770450"/>
            <a:chExt cx="291450" cy="292225"/>
          </a:xfrm>
        </p:grpSpPr>
        <p:sp>
          <p:nvSpPr>
            <p:cNvPr id="16" name="Google Shape;15202;p81"/>
            <p:cNvSpPr/>
            <p:nvPr/>
          </p:nvSpPr>
          <p:spPr>
            <a:xfrm>
              <a:off x="-1299325" y="2808250"/>
              <a:ext cx="222925" cy="134725"/>
            </a:xfrm>
            <a:custGeom>
              <a:avLst/>
              <a:gdLst/>
              <a:ahLst/>
              <a:cxnLst/>
              <a:rect l="l" t="t" r="r" b="b"/>
              <a:pathLst>
                <a:path w="8917" h="5389" extrusionOk="0">
                  <a:moveTo>
                    <a:pt x="7877" y="631"/>
                  </a:moveTo>
                  <a:cubicBezTo>
                    <a:pt x="8066" y="631"/>
                    <a:pt x="8223" y="789"/>
                    <a:pt x="8223" y="978"/>
                  </a:cubicBezTo>
                  <a:cubicBezTo>
                    <a:pt x="8223" y="1167"/>
                    <a:pt x="8066" y="1324"/>
                    <a:pt x="7877" y="1324"/>
                  </a:cubicBezTo>
                  <a:cubicBezTo>
                    <a:pt x="7656" y="1324"/>
                    <a:pt x="7498" y="1167"/>
                    <a:pt x="7498" y="978"/>
                  </a:cubicBezTo>
                  <a:cubicBezTo>
                    <a:pt x="7498" y="789"/>
                    <a:pt x="7656" y="631"/>
                    <a:pt x="7877" y="631"/>
                  </a:cubicBezTo>
                  <a:close/>
                  <a:moveTo>
                    <a:pt x="3056" y="1293"/>
                  </a:moveTo>
                  <a:cubicBezTo>
                    <a:pt x="3245" y="1293"/>
                    <a:pt x="3403" y="1450"/>
                    <a:pt x="3403" y="1639"/>
                  </a:cubicBezTo>
                  <a:cubicBezTo>
                    <a:pt x="3403" y="1828"/>
                    <a:pt x="3245" y="1986"/>
                    <a:pt x="3056" y="1986"/>
                  </a:cubicBezTo>
                  <a:cubicBezTo>
                    <a:pt x="2867" y="1986"/>
                    <a:pt x="2710" y="1828"/>
                    <a:pt x="2710" y="1639"/>
                  </a:cubicBezTo>
                  <a:cubicBezTo>
                    <a:pt x="2741" y="1450"/>
                    <a:pt x="2899" y="1293"/>
                    <a:pt x="3056" y="1293"/>
                  </a:cubicBezTo>
                  <a:close/>
                  <a:moveTo>
                    <a:pt x="5797" y="3340"/>
                  </a:moveTo>
                  <a:cubicBezTo>
                    <a:pt x="6018" y="3340"/>
                    <a:pt x="6175" y="3498"/>
                    <a:pt x="6175" y="3687"/>
                  </a:cubicBezTo>
                  <a:cubicBezTo>
                    <a:pt x="6175" y="3876"/>
                    <a:pt x="6018" y="4034"/>
                    <a:pt x="5797" y="4034"/>
                  </a:cubicBezTo>
                  <a:cubicBezTo>
                    <a:pt x="5608" y="4034"/>
                    <a:pt x="5451" y="3876"/>
                    <a:pt x="5451" y="3687"/>
                  </a:cubicBezTo>
                  <a:cubicBezTo>
                    <a:pt x="5451" y="3498"/>
                    <a:pt x="5608" y="3340"/>
                    <a:pt x="5797" y="3340"/>
                  </a:cubicBezTo>
                  <a:close/>
                  <a:moveTo>
                    <a:pt x="1008" y="4034"/>
                  </a:moveTo>
                  <a:cubicBezTo>
                    <a:pt x="1198" y="4034"/>
                    <a:pt x="1355" y="4191"/>
                    <a:pt x="1355" y="4412"/>
                  </a:cubicBezTo>
                  <a:cubicBezTo>
                    <a:pt x="1355" y="4601"/>
                    <a:pt x="1198" y="4758"/>
                    <a:pt x="1008" y="4758"/>
                  </a:cubicBezTo>
                  <a:cubicBezTo>
                    <a:pt x="819" y="4758"/>
                    <a:pt x="662" y="4601"/>
                    <a:pt x="662" y="4412"/>
                  </a:cubicBezTo>
                  <a:cubicBezTo>
                    <a:pt x="662" y="4191"/>
                    <a:pt x="819" y="4034"/>
                    <a:pt x="1008" y="4034"/>
                  </a:cubicBezTo>
                  <a:close/>
                  <a:moveTo>
                    <a:pt x="7908" y="1"/>
                  </a:moveTo>
                  <a:cubicBezTo>
                    <a:pt x="7341" y="1"/>
                    <a:pt x="6868" y="474"/>
                    <a:pt x="6868" y="1009"/>
                  </a:cubicBezTo>
                  <a:cubicBezTo>
                    <a:pt x="6868" y="1198"/>
                    <a:pt x="6963" y="1419"/>
                    <a:pt x="7026" y="1576"/>
                  </a:cubicBezTo>
                  <a:lnTo>
                    <a:pt x="6112" y="2742"/>
                  </a:lnTo>
                  <a:cubicBezTo>
                    <a:pt x="6032" y="2722"/>
                    <a:pt x="5943" y="2711"/>
                    <a:pt x="5850" y="2711"/>
                  </a:cubicBezTo>
                  <a:cubicBezTo>
                    <a:pt x="5650" y="2711"/>
                    <a:pt x="5434" y="2760"/>
                    <a:pt x="5262" y="2868"/>
                  </a:cubicBezTo>
                  <a:lnTo>
                    <a:pt x="4096" y="1954"/>
                  </a:lnTo>
                  <a:cubicBezTo>
                    <a:pt x="4127" y="1891"/>
                    <a:pt x="4127" y="1765"/>
                    <a:pt x="4127" y="1639"/>
                  </a:cubicBezTo>
                  <a:cubicBezTo>
                    <a:pt x="4127" y="1104"/>
                    <a:pt x="3655" y="631"/>
                    <a:pt x="3088" y="631"/>
                  </a:cubicBezTo>
                  <a:cubicBezTo>
                    <a:pt x="2552" y="631"/>
                    <a:pt x="2080" y="1104"/>
                    <a:pt x="2080" y="1639"/>
                  </a:cubicBezTo>
                  <a:cubicBezTo>
                    <a:pt x="2080" y="1828"/>
                    <a:pt x="2143" y="2049"/>
                    <a:pt x="2237" y="2206"/>
                  </a:cubicBezTo>
                  <a:lnTo>
                    <a:pt x="1324" y="3372"/>
                  </a:lnTo>
                  <a:cubicBezTo>
                    <a:pt x="1261" y="3340"/>
                    <a:pt x="1134" y="3340"/>
                    <a:pt x="1008" y="3340"/>
                  </a:cubicBezTo>
                  <a:cubicBezTo>
                    <a:pt x="441" y="3340"/>
                    <a:pt x="0" y="3813"/>
                    <a:pt x="0" y="4349"/>
                  </a:cubicBezTo>
                  <a:cubicBezTo>
                    <a:pt x="0" y="4947"/>
                    <a:pt x="441" y="5388"/>
                    <a:pt x="1008" y="5388"/>
                  </a:cubicBezTo>
                  <a:cubicBezTo>
                    <a:pt x="1576" y="5388"/>
                    <a:pt x="2017" y="4916"/>
                    <a:pt x="2017" y="4349"/>
                  </a:cubicBezTo>
                  <a:cubicBezTo>
                    <a:pt x="2017" y="4160"/>
                    <a:pt x="1954" y="3971"/>
                    <a:pt x="1859" y="3813"/>
                  </a:cubicBezTo>
                  <a:lnTo>
                    <a:pt x="2773" y="2616"/>
                  </a:lnTo>
                  <a:cubicBezTo>
                    <a:pt x="2875" y="2650"/>
                    <a:pt x="2980" y="2667"/>
                    <a:pt x="3087" y="2667"/>
                  </a:cubicBezTo>
                  <a:cubicBezTo>
                    <a:pt x="3278" y="2667"/>
                    <a:pt x="3473" y="2611"/>
                    <a:pt x="3655" y="2490"/>
                  </a:cubicBezTo>
                  <a:lnTo>
                    <a:pt x="4821" y="3403"/>
                  </a:lnTo>
                  <a:cubicBezTo>
                    <a:pt x="4789" y="3498"/>
                    <a:pt x="4789" y="3624"/>
                    <a:pt x="4789" y="3719"/>
                  </a:cubicBezTo>
                  <a:cubicBezTo>
                    <a:pt x="4789" y="4286"/>
                    <a:pt x="5262" y="4758"/>
                    <a:pt x="5797" y="4758"/>
                  </a:cubicBezTo>
                  <a:cubicBezTo>
                    <a:pt x="6364" y="4758"/>
                    <a:pt x="6837" y="4286"/>
                    <a:pt x="6837" y="3719"/>
                  </a:cubicBezTo>
                  <a:cubicBezTo>
                    <a:pt x="6837" y="3529"/>
                    <a:pt x="6742" y="3340"/>
                    <a:pt x="6679" y="3183"/>
                  </a:cubicBezTo>
                  <a:lnTo>
                    <a:pt x="7593" y="1986"/>
                  </a:lnTo>
                  <a:cubicBezTo>
                    <a:pt x="7656" y="2049"/>
                    <a:pt x="7782" y="2049"/>
                    <a:pt x="7908" y="2049"/>
                  </a:cubicBezTo>
                  <a:cubicBezTo>
                    <a:pt x="8444" y="2049"/>
                    <a:pt x="8916" y="1576"/>
                    <a:pt x="8916" y="1009"/>
                  </a:cubicBezTo>
                  <a:cubicBezTo>
                    <a:pt x="8916" y="474"/>
                    <a:pt x="8444" y="1"/>
                    <a:pt x="790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7" name="Google Shape;15203;p81"/>
            <p:cNvSpPr/>
            <p:nvPr/>
          </p:nvSpPr>
          <p:spPr>
            <a:xfrm>
              <a:off x="-1333200" y="2770450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586" y="725"/>
                  </a:moveTo>
                  <a:cubicBezTo>
                    <a:pt x="10807" y="725"/>
                    <a:pt x="10964" y="883"/>
                    <a:pt x="10964" y="1072"/>
                  </a:cubicBezTo>
                  <a:lnTo>
                    <a:pt x="10964" y="7593"/>
                  </a:lnTo>
                  <a:lnTo>
                    <a:pt x="631" y="7593"/>
                  </a:lnTo>
                  <a:lnTo>
                    <a:pt x="631" y="1072"/>
                  </a:lnTo>
                  <a:cubicBezTo>
                    <a:pt x="662" y="883"/>
                    <a:pt x="820" y="725"/>
                    <a:pt x="977" y="725"/>
                  </a:cubicBezTo>
                  <a:close/>
                  <a:moveTo>
                    <a:pt x="10996" y="8286"/>
                  </a:moveTo>
                  <a:lnTo>
                    <a:pt x="10996" y="8633"/>
                  </a:lnTo>
                  <a:cubicBezTo>
                    <a:pt x="10996" y="8822"/>
                    <a:pt x="10838" y="8980"/>
                    <a:pt x="10618" y="8980"/>
                  </a:cubicBezTo>
                  <a:lnTo>
                    <a:pt x="1009" y="8980"/>
                  </a:lnTo>
                  <a:cubicBezTo>
                    <a:pt x="820" y="8980"/>
                    <a:pt x="662" y="8822"/>
                    <a:pt x="662" y="8633"/>
                  </a:cubicBezTo>
                  <a:lnTo>
                    <a:pt x="662" y="8286"/>
                  </a:lnTo>
                  <a:close/>
                  <a:moveTo>
                    <a:pt x="6617" y="9641"/>
                  </a:moveTo>
                  <a:lnTo>
                    <a:pt x="6932" y="11027"/>
                  </a:lnTo>
                  <a:lnTo>
                    <a:pt x="4632" y="11027"/>
                  </a:lnTo>
                  <a:lnTo>
                    <a:pt x="4947" y="9641"/>
                  </a:lnTo>
                  <a:close/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8570"/>
                  </a:lnTo>
                  <a:cubicBezTo>
                    <a:pt x="1" y="9137"/>
                    <a:pt x="473" y="9610"/>
                    <a:pt x="1009" y="9610"/>
                  </a:cubicBezTo>
                  <a:lnTo>
                    <a:pt x="4285" y="9610"/>
                  </a:lnTo>
                  <a:lnTo>
                    <a:pt x="3970" y="10996"/>
                  </a:lnTo>
                  <a:lnTo>
                    <a:pt x="3057" y="10996"/>
                  </a:lnTo>
                  <a:cubicBezTo>
                    <a:pt x="2868" y="10996"/>
                    <a:pt x="2710" y="11153"/>
                    <a:pt x="2710" y="11342"/>
                  </a:cubicBezTo>
                  <a:cubicBezTo>
                    <a:pt x="2710" y="11531"/>
                    <a:pt x="2868" y="11689"/>
                    <a:pt x="3057" y="11689"/>
                  </a:cubicBezTo>
                  <a:lnTo>
                    <a:pt x="8538" y="11689"/>
                  </a:lnTo>
                  <a:cubicBezTo>
                    <a:pt x="8727" y="11689"/>
                    <a:pt x="8885" y="11531"/>
                    <a:pt x="8885" y="11342"/>
                  </a:cubicBezTo>
                  <a:cubicBezTo>
                    <a:pt x="8885" y="11153"/>
                    <a:pt x="8727" y="10996"/>
                    <a:pt x="8538" y="10996"/>
                  </a:cubicBezTo>
                  <a:lnTo>
                    <a:pt x="7625" y="10996"/>
                  </a:lnTo>
                  <a:lnTo>
                    <a:pt x="7310" y="9610"/>
                  </a:lnTo>
                  <a:lnTo>
                    <a:pt x="10618" y="9610"/>
                  </a:lnTo>
                  <a:cubicBezTo>
                    <a:pt x="11185" y="9610"/>
                    <a:pt x="11657" y="9137"/>
                    <a:pt x="11657" y="8570"/>
                  </a:cubicBezTo>
                  <a:lnTo>
                    <a:pt x="11657" y="1040"/>
                  </a:lnTo>
                  <a:cubicBezTo>
                    <a:pt x="11657" y="473"/>
                    <a:pt x="11185" y="1"/>
                    <a:pt x="1061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85539FB-C95E-467E-BE72-7757EC3C32F1}"/>
              </a:ext>
            </a:extLst>
          </p:cNvPr>
          <p:cNvGrpSpPr/>
          <p:nvPr/>
        </p:nvGrpSpPr>
        <p:grpSpPr>
          <a:xfrm>
            <a:off x="4596259" y="1895162"/>
            <a:ext cx="3020816" cy="1323439"/>
            <a:chOff x="4615732" y="1903184"/>
            <a:chExt cx="3020816" cy="1323439"/>
          </a:xfrm>
        </p:grpSpPr>
        <p:sp>
          <p:nvSpPr>
            <p:cNvPr id="18" name="TextBox 17"/>
            <p:cNvSpPr txBox="1"/>
            <p:nvPr/>
          </p:nvSpPr>
          <p:spPr>
            <a:xfrm>
              <a:off x="4615732" y="1903184"/>
              <a:ext cx="181785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7,8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196388" y="2090068"/>
              <a:ext cx="1440160" cy="978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лн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тонн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7860196" y="2133000"/>
            <a:ext cx="3240360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производство</a:t>
            </a:r>
          </a:p>
          <a:p>
            <a:pPr marL="0" marR="0" lvl="0" indent="0" algn="l" defTabSz="1219137" rtl="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prstClr val="black"/>
                </a:solidFill>
                <a:latin typeface="Arial"/>
                <a:ea typeface="Arial Unicode MS"/>
              </a:rPr>
              <a:t>молока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92721" y="537020"/>
            <a:ext cx="17155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5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474014" y="717510"/>
            <a:ext cx="5168429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-10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олокоперерабатывающих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предприятий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861865" y="5373216"/>
            <a:ext cx="4111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экспорт молока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996840E-5407-420A-B725-708482B10FE7}"/>
              </a:ext>
            </a:extLst>
          </p:cNvPr>
          <p:cNvGrpSpPr/>
          <p:nvPr/>
        </p:nvGrpSpPr>
        <p:grpSpPr>
          <a:xfrm>
            <a:off x="4359638" y="3458272"/>
            <a:ext cx="3694370" cy="1323439"/>
            <a:chOff x="4496453" y="3501008"/>
            <a:chExt cx="3694370" cy="1323439"/>
          </a:xfrm>
        </p:grpSpPr>
        <p:sp>
          <p:nvSpPr>
            <p:cNvPr id="23" name="TextBox 22"/>
            <p:cNvSpPr txBox="1"/>
            <p:nvPr/>
          </p:nvSpPr>
          <p:spPr>
            <a:xfrm>
              <a:off x="4496453" y="3501008"/>
              <a:ext cx="194309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841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30569B9-C611-4F30-B1BC-512C7F229511}"/>
                </a:ext>
              </a:extLst>
            </p:cNvPr>
            <p:cNvSpPr txBox="1"/>
            <p:nvPr/>
          </p:nvSpPr>
          <p:spPr>
            <a:xfrm>
              <a:off x="6372973" y="3688776"/>
              <a:ext cx="1817850" cy="978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кг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600" spc="-100" dirty="0">
                  <a:solidFill>
                    <a:srgbClr val="649941"/>
                  </a:solidFill>
                  <a:latin typeface="Arial"/>
                  <a:ea typeface="Arial Unicode MS"/>
                </a:rPr>
                <a:t>молока</a:t>
              </a:r>
              <a:endParaRPr kumimoji="0" lang="ru-RU" sz="3600" b="0" i="0" u="none" strike="noStrike" kern="1200" cap="none" spc="-100" normalizeH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04AD3D26-EEE7-4B78-A74A-DC377B78601F}"/>
              </a:ext>
            </a:extLst>
          </p:cNvPr>
          <p:cNvSpPr txBox="1"/>
          <p:nvPr/>
        </p:nvSpPr>
        <p:spPr>
          <a:xfrm>
            <a:off x="7856766" y="3695283"/>
            <a:ext cx="3996302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производство</a:t>
            </a:r>
          </a:p>
          <a:p>
            <a:pPr marL="0" marR="0" lvl="0" indent="0" algn="l" defTabSz="1219137" rtl="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prstClr val="black"/>
                </a:solidFill>
                <a:latin typeface="Arial"/>
                <a:ea typeface="Arial Unicode MS"/>
              </a:rPr>
              <a:t>на душу населения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446DE5B-8B3D-4543-AC30-30B492485C16}"/>
              </a:ext>
            </a:extLst>
          </p:cNvPr>
          <p:cNvGrpSpPr/>
          <p:nvPr/>
        </p:nvGrpSpPr>
        <p:grpSpPr>
          <a:xfrm>
            <a:off x="4758497" y="5109064"/>
            <a:ext cx="2955321" cy="1323439"/>
            <a:chOff x="3656817" y="5115233"/>
            <a:chExt cx="2955321" cy="1323439"/>
          </a:xfrm>
        </p:grpSpPr>
        <p:sp>
          <p:nvSpPr>
            <p:cNvPr id="25" name="TextBox 24"/>
            <p:cNvSpPr txBox="1"/>
            <p:nvPr/>
          </p:nvSpPr>
          <p:spPr>
            <a:xfrm>
              <a:off x="3656817" y="5115233"/>
              <a:ext cx="171551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2,7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D5D2381-2882-40D1-A5FA-74D9B8E40355}"/>
                </a:ext>
              </a:extLst>
            </p:cNvPr>
            <p:cNvSpPr txBox="1"/>
            <p:nvPr/>
          </p:nvSpPr>
          <p:spPr>
            <a:xfrm>
              <a:off x="5171978" y="5287589"/>
              <a:ext cx="1440160" cy="978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млрд</a:t>
              </a:r>
            </a:p>
            <a:p>
              <a:pPr marL="0" marR="0" lvl="0" indent="0" algn="l" defTabSz="1219137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dirty="0">
                  <a:solidFill>
                    <a:srgbClr val="649941"/>
                  </a:solidFill>
                  <a:latin typeface="Arial"/>
                  <a:ea typeface="Arial Unicode MS"/>
                </a:rPr>
                <a:t>USD</a:t>
              </a:r>
              <a:endPara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1E7EC85-A6C3-4E75-9B9E-CE35029C6B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265" y="3196797"/>
            <a:ext cx="2540373" cy="235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850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_MuBp5CEK9EqAw4X14e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Z.HICdPU24ZM8DxIB73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nR95e0keAIOgLrOTj3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Wp0UXRjkCu2h_yFwwj.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oeb4MKW0CxRC2y5Nl0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vcK.DLHEmuzjMitmmEv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xfpFOoUOGia0sEkez1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gBtGkxEESAx_2D94Pa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pF9fCWLUecN2bqHrYAa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mSuu3aD0iV1TqDE7s5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D.DEi005pXRdG7zqKl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Q0U7ZCkKxZWg07ByS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wHcTB4AEWt6O2LlpfUk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ZjA2acI0qPvnD8vk6I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OcPP7O60W3uAj322rl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gcAxHZE.DQYfqb93Gy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RAyhjPxUSMnbnQd0MRX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izSRXl4Eeo_evaFGF_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nZAgOwUUu9zEeNdAExK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Q7KxhBXk2qbYIG2VZ6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8wMlJVJUujH3iwcKki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NgtDSDS02hm0C3vGyJ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qAogB8FkSyF5w9NY1mz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WlLrZHLk2rMt4sS3id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3KGego02.1OOEvfKmM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e4Ki1f7UWisXt6vvi_k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e2t2_wxEW.hDZ4gQ1L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_CCIOKwEGgTC3jh38I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5H7wnxkqjL6i.cIm5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9JLuuAm0.R0owSC6hzC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qFkfJN_U6vx3U08Ucl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uDNJzn5QeeKaa.EW7zr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HcFxrWWkSDnlPxTIeFy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cQPNnVUup.5wEPKlPb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9Q8F3Jb0.qNLLeos75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ansbsFMkCZV8vj37.V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53EQA1U.PvF0rd5yD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OS.IWQC0qYnIGSq0.LN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qXlF_vNkuok4_hcRrrp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HANt9aSUWDcWjKKfBXb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neWrZhkCyoklX9FlU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o5qeL8Eyb3i1311oM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qZaBkVkqElJtC9FRvb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_xql2SJEenM6sa91uW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zNcCtbo06a95j3nayms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vaa4QqNEqqzJmgE0jK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dVjtqp9kWdwYGLcralo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y7rRnY6k61sPsVX8tr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7RyxM1oEW6w336vPvFe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8Z21ruxk2g5Xdt4dRZk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Gqe2V9kyCit0qllhj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Wk.mQ_vE6j2.wD3hWm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_j9hgT.JRsfHsMPCZ4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yJLZIl3EKiZh64uHy97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XmoBmYE6WMsfU2Ut8C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Mi3hqlbkG4TlPmHhNyt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O0uRpBCEub4AT1l2cs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mzVRvpFEqXh7_WPJchW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5G.cdTUESsngVvvRLf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1Sq0A2UqRTElVIlsVO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8dz8wQU.9BQV9YoOMg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y0j1LcU6GNvfbP8EQB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CxIW2yEW2ll5z8eWq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S3VEK0kqMMIowd8wNb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ETPoLTke00b410q_T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egLdehY0Wb9WsG1bJX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_Mwrj0.ECOrjQxqJbOQ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6UEZkSsUGyoVS1L_Ndb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ualFQkU.sJGH_pY0p8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MJsnQeckCmobQMSsNaT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nF5GHkkeQKfairqXHM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HcHQmZKEOig3R5hnRb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bcp0Q.u0yam5I8VgqQ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5aNBndX0vbsvN2F6anJ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evMbJsJUuTJ5iYeW79a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35q1kuyUSfmswyuLCO8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ZTmNxB30GmjiWS2WGIB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G7GyvqXU.0pCxKOAN6G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CoG9e1rUm7KkXGLyT.Q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FDTMq7k2WJtQf9EaJq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9l41ACcUSHTuhX3LC3V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R1xcWtUSZRQiGBt5Gg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6_bsFn0kmxrORQGDO4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4P.BxeDkGACvl67ZAC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xmJYrN_Eqrm_ky0VZf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amOWJiL060t3CYG8Y6R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MP69PC4Em9AmQ2RXJ2q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Gf4bRN9kWFeBUAoqlCw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SKtOxXEqLyc2s76IBw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io7QkJ5USzJ86aMibbg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xRluGaWUy6obKblW8xn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b8i7vqqkKhhruJPAjR6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JCqdSQuEiHIkDpeVSC4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1jbwD56U6Wq6nrEODw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VKeBEjPUGN9q8p6UdIP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zoni6N.0e2LR6dQOTha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a.f8bp.kW8wPt1QNzbw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W3hkzCkql29g1QO_hO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XN8Bq48kWGBBZkK79kN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5vWXep10.UTQ6YjshUB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iVJsupGk.i7BT5j9M1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iA5JUGk.pdkgW5Hhh2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zmMZAyaE6RxbHl4WVLY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Ip7wGGEuqF.KfJyVi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V99cyDWw8rRKABHda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6yRPif1EqddVMJ5qib7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GeVvEcg02NqJcVK365T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8CCSo7kEuZ9BnQSgNY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Mqsf_HREGZ6JB3JT0zy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ZB2SzH0uTzTP9cr_Ec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HytK9oRU2MtTSi_uHW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Nhi5Lu.ECpk6zDlqWjM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D4H5sI4kSuEz0ifwDE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GSREfmkm6VlNv8jwOI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zAfCPg7k6Uje2NzfAD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7DvhuUk61m34NxJSQ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NRbrc2QUaP3uCjQcSnY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ngnlbUWUqg_E2xbfh91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uoq0_Rnk2Ih2Rkj1Oj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uMjO4mk.CyJ9KPRMM5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M.AcRZa0ukNgsSr1oM0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atb3xmwk6ZApLyLbMLT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9qerrJIE2tgMeq.Pps7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RVz5NtI0eKJABpMMA9B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xs48mmvkGuhZcepwuz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qIk7ZsfEGBsfmTTHRh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y_8EzOQ0eGZhPKbGZA.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PQhaYfgUOUpzkNud4hR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yyrNcNAkGVVXV507YqC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E6.o0aakuCRyR7zH6tN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TCdNO_oUCAh5MPlfU1w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2r1zjD2kG0B4EeQYuRp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4_i6efJEiMyG1xC3geq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L3tX7Tk.vCccXbhjdy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I36M4aDUGaQu2TecbJ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I5IFZMkiQtvnOG94S_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tV2D0hKUC5eSTda53wa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_dBrzTLkKgxu2DonVFr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fkeTIdUiunpk_N36E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Zf.UlUUuMmetHnlOTq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NXkYf6Kk.Iv0XieyGM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OrpHZHQ0uikgDaOwOk0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NfFzpFm0S8ceR0eWTFO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tW3CjkDkuI1E_bW_Wt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vMnfx1EC6n7ru1DGw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8qVLKCAEClgEfxnFmrs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lFdLklkuBd3fJ72WOc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4DuL3dKUCWJnn4KIlTm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fDcA8Cg0S6i7ND1RPSJ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JGdwzvykaytbkP4aqV9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Hjr37zUa7uax1ZjtPc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WHR9wBvE2cKINJBu7T8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YNGFBwAki.pZOER9Ue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XoC0TevEyxSmKA0NWb1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X_YfU2Ue9qUKdRbGG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_xgpCyHkOVB922KD65h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dc1yWwQkG09Qx7EVRkZ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6ksDrEvkqyDZ.MLk21i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63zu6106ZeOabMpVU_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cdyXPfLEuz24U0mik_z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p2zOB.JEubiR158powc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ft4K53kSriCL2p0J55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jZGobMEGFUtHqSxT9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Am0pgN20aIoAcizJe8o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JkCsSQUqM4m1VWve0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5a5cr6nUeHeb0cKJ9w6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k2SCGMMEasX0KmLUcxO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LVYQNx02YnEadNfUQ.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nOurJfUK2HuJAJKdx5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0DjhUxDEWHEgom9hUfw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57HdPXFEinsKpJYBCF3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0cogQtXUOThS0rjklp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kFUJZagUS_9D94SEj0u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eJMqok5kWlITVNk_tM9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6d3qTcGEuqHQDcoJNu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7j6QkcqE2Vwue9WZDJf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O8U_.zRES4frM8Ld7qn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bQ7RFVUUKQg0HePhzlG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ANOaXS90q9nish2e5xS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vU2zSq0y2PDoWj3cY.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rFNXg8RkaJ42BPGYTP0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GSCttBCkS.DEPBNqUX2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Q0kzhq0KdpxDStIvWC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4WODkL9EGzvwgHh4I8S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.XkivHUuYuIbYtBef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oFdnIt8PlEDjSfrWjZ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0zcTEPTUifqLMKBtmS8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uIx9bN6EqBLEhFhykIH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u6Ej_d2UaSz.QxAlFyD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9ehucMJEew3U3zqylQK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xv9bKghECY31R6HoPPN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MuSBU0wE23QVYzUiLO0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1SLbBBukS8YHq9yWCq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rvdXQtpEikvyeR3bQK.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GdsDjL5kmoI.MtZZcUE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Z4PKu66UikyAqpFAg8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2eRPb.EGbJ8fDWfSsJ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Vqt0bYU.pFu1.awV9W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b53dc4Ui4a9PJ3gjnT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WcJ48hD0S3DgQJrqife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U0YN9rh0KKj3q7dSGg5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QaiFnybkyEPUwYXNaWJ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ps5hwEq80yEpPXKUG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MavmXX9EuObY83LXRxK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_86hsTUiGrC4FM9s7a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9NIP7FEKn5g_6aBHa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2wqCOCxxj67HvOPDh_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mqApPMGKXjwh9yE12qI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l0mkAjke4BBRwwKzto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nDuJ_y8k.7DAVpsY9x.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QVlyeC0SKlTVXHwClL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r8VLvjpkmNX7R1iyQu1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U1fYlxkmfg5CYRhc3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tiBj2W5UyYE7vMnvWM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42FPUkXEiVl2vZxAcxm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SAAw_QUOjDyKf5_EK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Bzub8gmEKMbO0Nh28bv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UdF_u9AEinM90gkIDC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M2dY9BPk6iJnz5rcC3O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UbBYNKc0OZW2BBvmi0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pdMgh2zU6zuF1jc8QX4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xjPtFoUG6dtqMeA5nc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wfyCBl0iRCKR.kMKdT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z5ohLeP0uYJRx.Z9zc8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8JmR1Mhkmc0cgyMCKr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nWhSXkK06S2MUY_ZHys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f7TXrGEEOmNMoXcqMf3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js7CluE.3ElNcqWq3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2wqCOCxxj67HvOPDh_z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19BlvZk679w8udYJy3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KSBicUlEi334AG7XXGy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vmlz.8u0aZpjfTN7j3p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TYhHX9u0iK7dHkWoKW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053aZ3O02FWhNsW5qlg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Ba8f1lXUi3SU2XDDX_Y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VFMKm8CEWMvza_AxYOW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_zSqK6i0Se3OMMA2dn_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Ynle7ha0GP4dQwISDC9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WbsuUCE0Sn7a.HF1LW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nhurPqbUKRzbLma_Pg7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8x.NYQrUWowoHOtlgHd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zzKzpWtUmu331S8svAv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9.GauEUenlfNGyFUcL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9Vc9FLGEmke4B6Fm9I.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NeUKmrrUSWiplUNXKQU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i.Nrb2yky0QHPdkt3KQ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HBSmGHU0qH2Zo1dKKFr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R0IZWrl0igQwiYLeZai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ChDntXeUmEozVN.GTa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wae2pFCUqbv0sJNF_Ek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jW9J4ToUeSeV8ksPJy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6xcIXsbUGSCzkvcvbJi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8eVaRHZEOZlvAjQqiJC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KsUpOchEe1HCXpeZkeF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ylzXlOu0uKScZyn4B9h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Lo9.7FkWCqIEJMSp.J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xbagmYdUC21dD7bbxHa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tQM_la0.1t7EcK38ha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pmP9f0E6T2.PD_Ehy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UOlM0gDkClocDYXhahw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kj6UiK0qc0iCaFzl0S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Xk2IqsN0WTSI_oDgxrR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KH1daDEU..FQXli0OOq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sDEnQxkmQAQALg5aju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eIuLQRykaDpIuNlm6Vj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X4bJj7EaANhgeIjdKM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eKoB7UqUWgBnB6lG4EN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0d1LAeHkKby71pi04Es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eJPh_QCEm2eRX.zacW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tZmbG2jprUGiw5KrB9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ZKvpEQcUm0OJDxSZMG3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32zh3YkGrUj.3DSVdw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6.DTwI2UOKLDEGVpWye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PXFXbys0Gd9v3Y8JZ3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RNHNOMdUuDCl4ouhgEM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tjVApBLEi3.IbHNQXwP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Mam1ry0a2gjYF.otX8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brcxEaEe5HOHvRipwW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vGMT.j.UO83jNAMlhTb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6ywLlU10qQPA71Ds8W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fc7m7tIUKR.3nkxBpot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UHZkkYPk2vXiXDYYGlI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xO7AFldkWpIoG.3Ly4F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7fyfQBUiLkWGuH_Xbv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QNHHylD0miQWOL6AdeJ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FvFCHJWk6lEmTXM2ODY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_Y_iWpUWYryPhPPyR6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WbRVEhq0m6sfJvWiFiH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yaGlSZxEeJ_iPoYlJ_N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BNELh73kSubBhtHR7B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ceFpGyFVuArRPcnvpX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r7I4uJbEKDMdC8HwpIW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Xoxxk2gESLh5hsNO2kF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xuX7cZ8kOS8sFyseYYz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9MC6sPO0iT5kaH_UIYD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InwCp0v0SHa5yObD3mW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FisRoGckGfw6.AKFZtq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u5j5QbEOh_1qyw2zDp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E5YRFN0WLxDottXYN9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aLLQrbO0yFypDOo0NI_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NovToO0GoDc3yONwj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wg1iQVp0.H09Dn97gBE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NB2_ZNEaQjcxFk.5tx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Os3pc0kWo4CFaHlTtH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vt6ZkifEGkSMT0HWrg2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vqkHY0aE2nI62wY.JIG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ZGE5CqBU2KJVt3c7yx4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fs24dNBEuRlGK5qiMTn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2KOawgBkCCvrrANdi6W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ob0UJvUUqSDL3QCGtog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SOh17m0SQKMbFx1sf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D.DEi005pXRdG7zqKly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Rkd8NAukKHB4x60T__N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2kgbEg1k2de9Est.Iia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0aUhvzckiB2K2tQvcZy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5LprtpUe9xvN3BFlUY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uDNJzn5QeeKaa.EW7z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_j9hgT.JRsfHsMPCZ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5aNBndX0vbsvN2F6an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V99cyDWw8rRKABHda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oFdnIt8PlEDjSfrWj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mqApPMGKXjwh9yE12q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2wqCOCxxj67HvOPDh_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tZmbG2jprUGiw5KrB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ceFpGyFVuArRPcnvp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D.DEi005pXRdG7zqKl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tZmbG2jprUGiw5KrB9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uDNJzn5QeeKaa.EW7z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_j9hgT.JRsfHsMPCZ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5aNBndX0vbsvN2F6an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V99cyDWw8rRKABHda4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oFdnIt8PlEDjSfrWjZ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mqApPMGKXjwh9yE12qI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ceFpGyFVuArRPcnvpX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Vqt0bYU.pFu1.awV9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Vqt0bYU.pFu1.awV9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5MRESiYk6mnvW.h44Z7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FSf7Rw70KyqS7YPQP8a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NR8IF0L0SySGIbULnWz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PuyHleECXv4Ypl0wc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4RWcJExUGThWn6WQWV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wJy9.T70u6KA76sWaaK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wNHDjVU0GAySVJpTJs_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qZeJjNb0KH5iHwPgueoA"/>
</p:tagLst>
</file>

<file path=ppt/theme/theme1.xml><?xml version="1.0" encoding="utf-8"?>
<a:theme xmlns:a="http://schemas.openxmlformats.org/drawingml/2006/main" name="Cover and End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ontents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86</TotalTime>
  <Words>484</Words>
  <Application>Microsoft Office PowerPoint</Application>
  <PresentationFormat>Широкоэкранный</PresentationFormat>
  <Paragraphs>195</Paragraphs>
  <Slides>17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2" baseType="lpstr">
      <vt:lpstr>Arial</vt:lpstr>
      <vt:lpstr>Calibri</vt:lpstr>
      <vt:lpstr>Calibri Light</vt:lpstr>
      <vt:lpstr>Lato Regular</vt:lpstr>
      <vt:lpstr>Montserrat Light</vt:lpstr>
      <vt:lpstr>Roboto</vt:lpstr>
      <vt:lpstr>Roboto Regular</vt:lpstr>
      <vt:lpstr>Cover and End Slide Master</vt:lpstr>
      <vt:lpstr>Contents Slide Master</vt:lpstr>
      <vt:lpstr>Section Break Slide Master</vt:lpstr>
      <vt:lpstr>1_Contents Slide Master</vt:lpstr>
      <vt:lpstr>1_Тема Office</vt:lpstr>
      <vt:lpstr>2_Тема Office</vt:lpstr>
      <vt:lpstr>3_Тема Office</vt:lpstr>
      <vt:lpstr>Слайд think-cell</vt:lpstr>
      <vt:lpstr>Презентация PowerPoint</vt:lpstr>
      <vt:lpstr>Биржа в цифрах</vt:lpstr>
      <vt:lpstr>Ключевые  показатели внешней  торговли</vt:lpstr>
      <vt:lpstr>Основные торговые партнеры</vt:lpstr>
      <vt:lpstr>Презентация PowerPoint</vt:lpstr>
      <vt:lpstr>Динамика  реализации  сельхозпродукции</vt:lpstr>
      <vt:lpstr>Торги  сельхозпродукцией</vt:lpstr>
      <vt:lpstr>Презентация PowerPoint</vt:lpstr>
      <vt:lpstr>Республика Беларусь</vt:lpstr>
      <vt:lpstr>Участие РБ в мировых рейтингах</vt:lpstr>
      <vt:lpstr>Презентация PowerPoint</vt:lpstr>
      <vt:lpstr>Экспорт молочной биржевой продукции</vt:lpstr>
      <vt:lpstr>Презентация PowerPoint</vt:lpstr>
      <vt:lpstr>Презентация PowerPoint</vt:lpstr>
      <vt:lpstr>Презентация PowerPoint</vt:lpstr>
      <vt:lpstr>4  простых шага</vt:lpstr>
      <vt:lpstr>Презентация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ogleSlidesPPT.com;Allppt.com</dc:creator>
  <cp:lastModifiedBy>Бельский Эдуард Александрович</cp:lastModifiedBy>
  <cp:revision>530</cp:revision>
  <cp:lastPrinted>2022-05-17T12:38:41Z</cp:lastPrinted>
  <dcterms:created xsi:type="dcterms:W3CDTF">2016-12-05T23:26:54Z</dcterms:created>
  <dcterms:modified xsi:type="dcterms:W3CDTF">2022-05-20T13:32:11Z</dcterms:modified>
</cp:coreProperties>
</file>